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6" r:id="rId5"/>
    <p:sldMasterId id="2147483751" r:id="rId6"/>
    <p:sldMasterId id="2147483768" r:id="rId7"/>
  </p:sldMasterIdLst>
  <p:notesMasterIdLst>
    <p:notesMasterId r:id="rId11"/>
  </p:notesMasterIdLst>
  <p:sldIdLst>
    <p:sldId id="2147469930" r:id="rId8"/>
    <p:sldId id="2147469931" r:id="rId9"/>
    <p:sldId id="277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1FA835D-FC18-AA5F-F012-8CD177B74541}" name="Brianna Lien" initials="BL" userId="S::brianna.lien@bayer.com::f3b5815a-0702-414c-9464-ffb25822869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DBE3F5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9" autoAdjust="0"/>
    <p:restoredTop sz="96247" autoAdjust="0"/>
  </p:normalViewPr>
  <p:slideViewPr>
    <p:cSldViewPr snapToGrid="0">
      <p:cViewPr varScale="1">
        <p:scale>
          <a:sx n="87" d="100"/>
          <a:sy n="87" d="100"/>
        </p:scale>
        <p:origin x="29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anna Lien" userId="f3b5815a-0702-414c-9464-ffb25822869a" providerId="ADAL" clId="{80ABF9A1-73C1-4B81-9F8B-969E5B7CC65F}"/>
    <pc:docChg chg="custSel addSld delSld modSld sldOrd delMainMaster">
      <pc:chgData name="Brianna Lien" userId="f3b5815a-0702-414c-9464-ffb25822869a" providerId="ADAL" clId="{80ABF9A1-73C1-4B81-9F8B-969E5B7CC65F}" dt="2024-06-05T10:07:26.636" v="1411" actId="20577"/>
      <pc:docMkLst>
        <pc:docMk/>
      </pc:docMkLst>
      <pc:sldChg chg="del">
        <pc:chgData name="Brianna Lien" userId="f3b5815a-0702-414c-9464-ffb25822869a" providerId="ADAL" clId="{80ABF9A1-73C1-4B81-9F8B-969E5B7CC65F}" dt="2024-05-29T13:01:14.616" v="0" actId="47"/>
        <pc:sldMkLst>
          <pc:docMk/>
          <pc:sldMk cId="3488754185" sldId="256"/>
        </pc:sldMkLst>
      </pc:sldChg>
      <pc:sldChg chg="del">
        <pc:chgData name="Brianna Lien" userId="f3b5815a-0702-414c-9464-ffb25822869a" providerId="ADAL" clId="{80ABF9A1-73C1-4B81-9F8B-969E5B7CC65F}" dt="2024-05-29T13:01:15.998" v="2" actId="47"/>
        <pc:sldMkLst>
          <pc:docMk/>
          <pc:sldMk cId="2359098254" sldId="257"/>
        </pc:sldMkLst>
      </pc:sldChg>
      <pc:sldChg chg="del">
        <pc:chgData name="Brianna Lien" userId="f3b5815a-0702-414c-9464-ffb25822869a" providerId="ADAL" clId="{80ABF9A1-73C1-4B81-9F8B-969E5B7CC65F}" dt="2024-05-29T13:01:18.392" v="3" actId="47"/>
        <pc:sldMkLst>
          <pc:docMk/>
          <pc:sldMk cId="3143414294" sldId="258"/>
        </pc:sldMkLst>
      </pc:sldChg>
      <pc:sldChg chg="addSp delSp modSp mod">
        <pc:chgData name="Brianna Lien" userId="f3b5815a-0702-414c-9464-ffb25822869a" providerId="ADAL" clId="{80ABF9A1-73C1-4B81-9F8B-969E5B7CC65F}" dt="2024-06-05T10:07:26.636" v="1411" actId="20577"/>
        <pc:sldMkLst>
          <pc:docMk/>
          <pc:sldMk cId="2652259109" sldId="277"/>
        </pc:sldMkLst>
      </pc:sldChg>
      <pc:sldChg chg="addSp modSp mod modNotesTx">
        <pc:chgData name="Brianna Lien" userId="f3b5815a-0702-414c-9464-ffb25822869a" providerId="ADAL" clId="{80ABF9A1-73C1-4B81-9F8B-969E5B7CC65F}" dt="2024-06-04T15:52:42.751" v="1188"/>
        <pc:sldMkLst>
          <pc:docMk/>
          <pc:sldMk cId="96322911" sldId="301"/>
        </pc:sldMkLst>
      </pc:sldChg>
      <pc:sldChg chg="addSp modSp mod">
        <pc:chgData name="Brianna Lien" userId="f3b5815a-0702-414c-9464-ffb25822869a" providerId="ADAL" clId="{80ABF9A1-73C1-4B81-9F8B-969E5B7CC65F}" dt="2024-05-29T16:17:56.819" v="829" actId="207"/>
        <pc:sldMkLst>
          <pc:docMk/>
          <pc:sldMk cId="2477321240" sldId="302"/>
        </pc:sldMkLst>
      </pc:sldChg>
      <pc:sldChg chg="addSp modSp mod ord modNotesTx">
        <pc:chgData name="Brianna Lien" userId="f3b5815a-0702-414c-9464-ffb25822869a" providerId="ADAL" clId="{80ABF9A1-73C1-4B81-9F8B-969E5B7CC65F}" dt="2024-06-05T10:04:50.521" v="1345" actId="1037"/>
        <pc:sldMkLst>
          <pc:docMk/>
          <pc:sldMk cId="1763847388" sldId="909"/>
        </pc:sldMkLst>
      </pc:sldChg>
      <pc:sldChg chg="addSp modSp mod">
        <pc:chgData name="Brianna Lien" userId="f3b5815a-0702-414c-9464-ffb25822869a" providerId="ADAL" clId="{80ABF9A1-73C1-4B81-9F8B-969E5B7CC65F}" dt="2024-06-05T09:58:01.516" v="1318" actId="1037"/>
        <pc:sldMkLst>
          <pc:docMk/>
          <pc:sldMk cId="2551951913" sldId="911"/>
        </pc:sldMkLst>
      </pc:sldChg>
      <pc:sldChg chg="addSp modSp mod ord">
        <pc:chgData name="Brianna Lien" userId="f3b5815a-0702-414c-9464-ffb25822869a" providerId="ADAL" clId="{80ABF9A1-73C1-4B81-9F8B-969E5B7CC65F}" dt="2024-06-05T09:58:12.996" v="1319" actId="1076"/>
        <pc:sldMkLst>
          <pc:docMk/>
          <pc:sldMk cId="4066212355" sldId="2147375221"/>
        </pc:sldMkLst>
      </pc:sldChg>
      <pc:sldChg chg="addSp delSp modSp mod modNotesTx">
        <pc:chgData name="Brianna Lien" userId="f3b5815a-0702-414c-9464-ffb25822869a" providerId="ADAL" clId="{80ABF9A1-73C1-4B81-9F8B-969E5B7CC65F}" dt="2024-06-05T10:02:07.679" v="1320" actId="947"/>
        <pc:sldMkLst>
          <pc:docMk/>
          <pc:sldMk cId="363803934" sldId="2147469893"/>
        </pc:sldMkLst>
      </pc:sldChg>
      <pc:sldChg chg="del">
        <pc:chgData name="Brianna Lien" userId="f3b5815a-0702-414c-9464-ffb25822869a" providerId="ADAL" clId="{80ABF9A1-73C1-4B81-9F8B-969E5B7CC65F}" dt="2024-05-29T13:01:15.281" v="1" actId="47"/>
        <pc:sldMkLst>
          <pc:docMk/>
          <pc:sldMk cId="1982613756" sldId="2147469918"/>
        </pc:sldMkLst>
      </pc:sldChg>
      <pc:sldChg chg="addSp modSp mod">
        <pc:chgData name="Brianna Lien" userId="f3b5815a-0702-414c-9464-ffb25822869a" providerId="ADAL" clId="{80ABF9A1-73C1-4B81-9F8B-969E5B7CC65F}" dt="2024-05-29T16:04:01.526" v="814" actId="123"/>
        <pc:sldMkLst>
          <pc:docMk/>
          <pc:sldMk cId="550996224" sldId="2147469922"/>
        </pc:sldMkLst>
      </pc:sldChg>
      <pc:sldChg chg="addSp delSp modSp mod">
        <pc:chgData name="Brianna Lien" userId="f3b5815a-0702-414c-9464-ffb25822869a" providerId="ADAL" clId="{80ABF9A1-73C1-4B81-9F8B-969E5B7CC65F}" dt="2024-05-29T15:53:13.026" v="757" actId="1035"/>
        <pc:sldMkLst>
          <pc:docMk/>
          <pc:sldMk cId="2927679592" sldId="2147469924"/>
        </pc:sldMkLst>
      </pc:sldChg>
      <pc:sldChg chg="addSp delSp modSp mod">
        <pc:chgData name="Brianna Lien" userId="f3b5815a-0702-414c-9464-ffb25822869a" providerId="ADAL" clId="{80ABF9A1-73C1-4B81-9F8B-969E5B7CC65F}" dt="2024-06-04T15:55:41.280" v="1255" actId="255"/>
        <pc:sldMkLst>
          <pc:docMk/>
          <pc:sldMk cId="3840920783" sldId="2147469925"/>
        </pc:sldMkLst>
      </pc:sldChg>
      <pc:sldChg chg="addSp delSp modSp mod">
        <pc:chgData name="Brianna Lien" userId="f3b5815a-0702-414c-9464-ffb25822869a" providerId="ADAL" clId="{80ABF9A1-73C1-4B81-9F8B-969E5B7CC65F}" dt="2024-06-04T15:43:03.935" v="1185" actId="20577"/>
        <pc:sldMkLst>
          <pc:docMk/>
          <pc:sldMk cId="3200755068" sldId="2147469927"/>
        </pc:sldMkLst>
      </pc:sldChg>
      <pc:sldChg chg="addSp delSp modSp mod">
        <pc:chgData name="Brianna Lien" userId="f3b5815a-0702-414c-9464-ffb25822869a" providerId="ADAL" clId="{80ABF9A1-73C1-4B81-9F8B-969E5B7CC65F}" dt="2024-06-05T09:57:40.594" v="1272" actId="1076"/>
        <pc:sldMkLst>
          <pc:docMk/>
          <pc:sldMk cId="2698767485" sldId="2147469928"/>
        </pc:sldMkLst>
      </pc:sldChg>
      <pc:sldChg chg="addSp delSp modSp del mod">
        <pc:chgData name="Brianna Lien" userId="f3b5815a-0702-414c-9464-ffb25822869a" providerId="ADAL" clId="{80ABF9A1-73C1-4B81-9F8B-969E5B7CC65F}" dt="2024-06-04T15:55:01.537" v="1241" actId="47"/>
        <pc:sldMkLst>
          <pc:docMk/>
          <pc:sldMk cId="3465896249" sldId="2147469929"/>
        </pc:sldMkLst>
      </pc:sldChg>
      <pc:sldChg chg="addSp modSp mod ord delCm modNotesTx">
        <pc:chgData name="Brianna Lien" userId="f3b5815a-0702-414c-9464-ffb25822869a" providerId="ADAL" clId="{80ABF9A1-73C1-4B81-9F8B-969E5B7CC65F}" dt="2024-06-04T14:48:48.424" v="1035" actId="207"/>
        <pc:sldMkLst>
          <pc:docMk/>
          <pc:sldMk cId="36038396" sldId="214746993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Brianna Lien" userId="f3b5815a-0702-414c-9464-ffb25822869a" providerId="ADAL" clId="{80ABF9A1-73C1-4B81-9F8B-969E5B7CC65F}" dt="2024-05-29T13:11:29.408" v="19"/>
              <pc2:cmMkLst xmlns:pc2="http://schemas.microsoft.com/office/powerpoint/2019/9/main/command">
                <pc:docMk/>
                <pc:sldMk cId="36038396" sldId="2147469930"/>
                <pc2:cmMk id="{9C8ECE3E-1129-42BB-8793-6143F89A6576}"/>
              </pc2:cmMkLst>
            </pc226:cmChg>
          </p:ext>
        </pc:extLst>
      </pc:sldChg>
      <pc:sldChg chg="addSp modSp mod">
        <pc:chgData name="Brianna Lien" userId="f3b5815a-0702-414c-9464-ffb25822869a" providerId="ADAL" clId="{80ABF9A1-73C1-4B81-9F8B-969E5B7CC65F}" dt="2024-05-29T15:53:51.626" v="782" actId="1035"/>
        <pc:sldMkLst>
          <pc:docMk/>
          <pc:sldMk cId="2475446499" sldId="2147469931"/>
        </pc:sldMkLst>
      </pc:sldChg>
      <pc:sldChg chg="addSp modSp mod">
        <pc:chgData name="Brianna Lien" userId="f3b5815a-0702-414c-9464-ffb25822869a" providerId="ADAL" clId="{80ABF9A1-73C1-4B81-9F8B-969E5B7CC65F}" dt="2024-06-04T14:58:55.936" v="1040"/>
        <pc:sldMkLst>
          <pc:docMk/>
          <pc:sldMk cId="3491936847" sldId="2147469932"/>
        </pc:sldMkLst>
      </pc:sldChg>
      <pc:sldChg chg="addSp delSp modSp add mod">
        <pc:chgData name="Brianna Lien" userId="f3b5815a-0702-414c-9464-ffb25822869a" providerId="ADAL" clId="{80ABF9A1-73C1-4B81-9F8B-969E5B7CC65F}" dt="2024-06-04T15:55:22.631" v="1254" actId="1036"/>
        <pc:sldMkLst>
          <pc:docMk/>
          <pc:sldMk cId="1704104141" sldId="2147469933"/>
        </pc:sldMkLst>
      </pc:sldChg>
      <pc:sldMasterChg chg="del delSldLayout">
        <pc:chgData name="Brianna Lien" userId="f3b5815a-0702-414c-9464-ffb25822869a" providerId="ADAL" clId="{80ABF9A1-73C1-4B81-9F8B-969E5B7CC65F}" dt="2024-05-29T13:01:18.392" v="3" actId="47"/>
        <pc:sldMasterMkLst>
          <pc:docMk/>
          <pc:sldMasterMk cId="1403789739" sldId="2147483648"/>
        </pc:sldMasterMkLst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904089044" sldId="2147483649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1306908899" sldId="2147483650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06963554" sldId="2147483651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3252154894" sldId="2147483652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1910511342" sldId="2147483653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911273252" sldId="2147483654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697311178" sldId="2147483655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1798913766" sldId="2147483656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3498482370" sldId="2147483657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303575071" sldId="2147483658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3568788579" sldId="2147483659"/>
          </pc:sldLayoutMkLst>
        </pc:sldLayoutChg>
      </pc:sldMasterChg>
    </pc:docChg>
  </pc:docChgLst>
  <pc:docChgLst>
    <pc:chgData name="Moritz Holenstein" userId="87295f47-034d-4a9a-b17d-8559f74f3012" providerId="ADAL" clId="{7C8C39C0-0FD2-4F1F-B57C-2CEBB42CD62B}"/>
    <pc:docChg chg="custSel modSld">
      <pc:chgData name="Moritz Holenstein" userId="87295f47-034d-4a9a-b17d-8559f74f3012" providerId="ADAL" clId="{7C8C39C0-0FD2-4F1F-B57C-2CEBB42CD62B}" dt="2025-05-09T15:40:13.144" v="0" actId="207"/>
      <pc:docMkLst>
        <pc:docMk/>
      </pc:docMkLst>
      <pc:sldChg chg="modSp mod">
        <pc:chgData name="Moritz Holenstein" userId="87295f47-034d-4a9a-b17d-8559f74f3012" providerId="ADAL" clId="{7C8C39C0-0FD2-4F1F-B57C-2CEBB42CD62B}" dt="2025-05-09T15:40:13.144" v="0" actId="207"/>
        <pc:sldMkLst>
          <pc:docMk/>
          <pc:sldMk cId="36038396" sldId="2147469930"/>
        </pc:sldMkLst>
      </pc:sldChg>
    </pc:docChg>
  </pc:docChgLst>
  <pc:docChgLst>
    <pc:chgData name="Brianna Lien" userId="f3b5815a-0702-414c-9464-ffb25822869a" providerId="ADAL" clId="{A5DF8D5A-8DB1-4D40-A212-1462F010E50D}"/>
    <pc:docChg chg="custSel addSld delSld modSld sldOrd delMainMaster">
      <pc:chgData name="Brianna Lien" userId="f3b5815a-0702-414c-9464-ffb25822869a" providerId="ADAL" clId="{A5DF8D5A-8DB1-4D40-A212-1462F010E50D}" dt="2024-05-02T10:54:01.028" v="3383"/>
      <pc:docMkLst>
        <pc:docMk/>
      </pc:docMkLst>
      <pc:sldChg chg="modSp mod">
        <pc:chgData name="Brianna Lien" userId="f3b5815a-0702-414c-9464-ffb25822869a" providerId="ADAL" clId="{A5DF8D5A-8DB1-4D40-A212-1462F010E50D}" dt="2024-04-23T08:29:38.576" v="26" actId="20577"/>
        <pc:sldMkLst>
          <pc:docMk/>
          <pc:sldMk cId="3488754185" sldId="256"/>
        </pc:sldMkLst>
      </pc:sldChg>
      <pc:sldChg chg="modSp new mod">
        <pc:chgData name="Brianna Lien" userId="f3b5815a-0702-414c-9464-ffb25822869a" providerId="ADAL" clId="{A5DF8D5A-8DB1-4D40-A212-1462F010E50D}" dt="2024-04-23T14:40:37.932" v="1607" actId="20577"/>
        <pc:sldMkLst>
          <pc:docMk/>
          <pc:sldMk cId="2359098254" sldId="257"/>
        </pc:sldMkLst>
      </pc:sldChg>
      <pc:sldChg chg="modSp new mod">
        <pc:chgData name="Brianna Lien" userId="f3b5815a-0702-414c-9464-ffb25822869a" providerId="ADAL" clId="{A5DF8D5A-8DB1-4D40-A212-1462F010E50D}" dt="2024-04-24T13:14:42.256" v="2046" actId="27636"/>
        <pc:sldMkLst>
          <pc:docMk/>
          <pc:sldMk cId="3143414294" sldId="258"/>
        </pc:sldMkLst>
      </pc:sldChg>
      <pc:sldChg chg="add">
        <pc:chgData name="Brianna Lien" userId="f3b5815a-0702-414c-9464-ffb25822869a" providerId="ADAL" clId="{A5DF8D5A-8DB1-4D40-A212-1462F010E50D}" dt="2024-05-02T10:54:01.028" v="3383"/>
        <pc:sldMkLst>
          <pc:docMk/>
          <pc:sldMk cId="983440853" sldId="259"/>
        </pc:sldMkLst>
      </pc:sldChg>
      <pc:sldChg chg="add">
        <pc:chgData name="Brianna Lien" userId="f3b5815a-0702-414c-9464-ffb25822869a" providerId="ADAL" clId="{A5DF8D5A-8DB1-4D40-A212-1462F010E50D}" dt="2024-04-24T16:32:45.878" v="3061"/>
        <pc:sldMkLst>
          <pc:docMk/>
          <pc:sldMk cId="1533286221" sldId="276"/>
        </pc:sldMkLst>
      </pc:sldChg>
      <pc:sldChg chg="addSp delSp modSp add mod">
        <pc:chgData name="Brianna Lien" userId="f3b5815a-0702-414c-9464-ffb25822869a" providerId="ADAL" clId="{A5DF8D5A-8DB1-4D40-A212-1462F010E50D}" dt="2024-04-25T11:45:31.625" v="3171"/>
        <pc:sldMkLst>
          <pc:docMk/>
          <pc:sldMk cId="96322911" sldId="301"/>
        </pc:sldMkLst>
      </pc:sldChg>
      <pc:sldChg chg="addSp delSp modSp mod ord">
        <pc:chgData name="Brianna Lien" userId="f3b5815a-0702-414c-9464-ffb25822869a" providerId="ADAL" clId="{A5DF8D5A-8DB1-4D40-A212-1462F010E50D}" dt="2024-05-02T10:51:16.614" v="3380" actId="478"/>
        <pc:sldMkLst>
          <pc:docMk/>
          <pc:sldMk cId="1763847388" sldId="909"/>
        </pc:sldMkLst>
      </pc:sldChg>
      <pc:sldChg chg="del">
        <pc:chgData name="Brianna Lien" userId="f3b5815a-0702-414c-9464-ffb25822869a" providerId="ADAL" clId="{A5DF8D5A-8DB1-4D40-A212-1462F010E50D}" dt="2024-04-25T08:58:02.109" v="3168" actId="47"/>
        <pc:sldMkLst>
          <pc:docMk/>
          <pc:sldMk cId="1000758672" sldId="910"/>
        </pc:sldMkLst>
      </pc:sldChg>
      <pc:sldChg chg="modSp mod ord addCm modCm">
        <pc:chgData name="Brianna Lien" userId="f3b5815a-0702-414c-9464-ffb25822869a" providerId="ADAL" clId="{A5DF8D5A-8DB1-4D40-A212-1462F010E50D}" dt="2024-04-24T14:36:46.604" v="2644" actId="1076"/>
        <pc:sldMkLst>
          <pc:docMk/>
          <pc:sldMk cId="2551951913" sldId="91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Brianna Lien" userId="f3b5815a-0702-414c-9464-ffb25822869a" providerId="ADAL" clId="{A5DF8D5A-8DB1-4D40-A212-1462F010E50D}" dt="2024-04-24T11:54:18.013" v="1651" actId="2056"/>
              <pc2:cmMkLst xmlns:pc2="http://schemas.microsoft.com/office/powerpoint/2019/9/main/command">
                <pc:docMk/>
                <pc:sldMk cId="2551951913" sldId="911"/>
                <pc2:cmMk id="{933D4E3B-AABE-4F05-8486-557598503C82}"/>
              </pc2:cmMkLst>
            </pc226:cmChg>
          </p:ext>
        </pc:extLst>
      </pc:sldChg>
      <pc:sldChg chg="add del">
        <pc:chgData name="Brianna Lien" userId="f3b5815a-0702-414c-9464-ffb25822869a" providerId="ADAL" clId="{A5DF8D5A-8DB1-4D40-A212-1462F010E50D}" dt="2024-04-29T14:56:56.604" v="3374" actId="47"/>
        <pc:sldMkLst>
          <pc:docMk/>
          <pc:sldMk cId="3231091519" sldId="2147375148"/>
        </pc:sldMkLst>
      </pc:sldChg>
      <pc:sldChg chg="add del">
        <pc:chgData name="Brianna Lien" userId="f3b5815a-0702-414c-9464-ffb25822869a" providerId="ADAL" clId="{A5DF8D5A-8DB1-4D40-A212-1462F010E50D}" dt="2024-04-24T11:54:26.924" v="1652" actId="47"/>
        <pc:sldMkLst>
          <pc:docMk/>
          <pc:sldMk cId="233671491" sldId="2147375150"/>
        </pc:sldMkLst>
      </pc:sldChg>
      <pc:sldChg chg="add">
        <pc:chgData name="Brianna Lien" userId="f3b5815a-0702-414c-9464-ffb25822869a" providerId="ADAL" clId="{A5DF8D5A-8DB1-4D40-A212-1462F010E50D}" dt="2024-04-29T14:03:45.801" v="3276"/>
        <pc:sldMkLst>
          <pc:docMk/>
          <pc:sldMk cId="4066212355" sldId="2147375221"/>
        </pc:sldMkLst>
      </pc:sldChg>
      <pc:sldChg chg="add del">
        <pc:chgData name="Brianna Lien" userId="f3b5815a-0702-414c-9464-ffb25822869a" providerId="ADAL" clId="{A5DF8D5A-8DB1-4D40-A212-1462F010E50D}" dt="2024-04-29T14:03:31.081" v="3275" actId="47"/>
        <pc:sldMkLst>
          <pc:docMk/>
          <pc:sldMk cId="3679438254" sldId="2147375223"/>
        </pc:sldMkLst>
      </pc:sldChg>
      <pc:sldChg chg="addSp delSp modSp add mod">
        <pc:chgData name="Brianna Lien" userId="f3b5815a-0702-414c-9464-ffb25822869a" providerId="ADAL" clId="{A5DF8D5A-8DB1-4D40-A212-1462F010E50D}" dt="2024-04-29T13:57:32.550" v="3273" actId="20577"/>
        <pc:sldMkLst>
          <pc:docMk/>
          <pc:sldMk cId="515246607" sldId="2147469917"/>
        </pc:sldMkLst>
      </pc:sldChg>
      <pc:sldChg chg="modSp new mod">
        <pc:chgData name="Brianna Lien" userId="f3b5815a-0702-414c-9464-ffb25822869a" providerId="ADAL" clId="{A5DF8D5A-8DB1-4D40-A212-1462F010E50D}" dt="2024-04-24T12:49:41.419" v="2043" actId="20577"/>
        <pc:sldMkLst>
          <pc:docMk/>
          <pc:sldMk cId="1982613756" sldId="2147469918"/>
        </pc:sldMkLst>
      </pc:sldChg>
      <pc:sldChg chg="addSp delSp modSp new del mod">
        <pc:chgData name="Brianna Lien" userId="f3b5815a-0702-414c-9464-ffb25822869a" providerId="ADAL" clId="{A5DF8D5A-8DB1-4D40-A212-1462F010E50D}" dt="2024-04-29T14:07:28.001" v="3278" actId="47"/>
        <pc:sldMkLst>
          <pc:docMk/>
          <pc:sldMk cId="3033011014" sldId="2147469919"/>
        </pc:sldMkLst>
      </pc:sldChg>
      <pc:sldChg chg="modSp add mod ord">
        <pc:chgData name="Brianna Lien" userId="f3b5815a-0702-414c-9464-ffb25822869a" providerId="ADAL" clId="{A5DF8D5A-8DB1-4D40-A212-1462F010E50D}" dt="2024-04-24T13:51:39.195" v="2584"/>
        <pc:sldMkLst>
          <pc:docMk/>
          <pc:sldMk cId="2348600632" sldId="2147469920"/>
        </pc:sldMkLst>
      </pc:sldChg>
      <pc:sldChg chg="new del">
        <pc:chgData name="Brianna Lien" userId="f3b5815a-0702-414c-9464-ffb25822869a" providerId="ADAL" clId="{A5DF8D5A-8DB1-4D40-A212-1462F010E50D}" dt="2024-04-24T15:15:00.822" v="2659" actId="47"/>
        <pc:sldMkLst>
          <pc:docMk/>
          <pc:sldMk cId="1692887588" sldId="2147469921"/>
        </pc:sldMkLst>
      </pc:sldChg>
      <pc:sldChg chg="addSp modSp new mod ord modNotesTx">
        <pc:chgData name="Brianna Lien" userId="f3b5815a-0702-414c-9464-ffb25822869a" providerId="ADAL" clId="{A5DF8D5A-8DB1-4D40-A212-1462F010E50D}" dt="2024-04-29T14:44:34.980" v="3373" actId="1076"/>
        <pc:sldMkLst>
          <pc:docMk/>
          <pc:sldMk cId="4169332890" sldId="2147469921"/>
        </pc:sldMkLst>
      </pc:sldChg>
      <pc:sldChg chg="addSp delSp modSp new mod modNotesTx">
        <pc:chgData name="Brianna Lien" userId="f3b5815a-0702-414c-9464-ffb25822869a" providerId="ADAL" clId="{A5DF8D5A-8DB1-4D40-A212-1462F010E50D}" dt="2024-05-02T10:51:29.835" v="3382" actId="1076"/>
        <pc:sldMkLst>
          <pc:docMk/>
          <pc:sldMk cId="550996224" sldId="2147469922"/>
        </pc:sldMkLst>
      </pc:sldChg>
      <pc:sldChg chg="addSp modSp new del mod modNotesTx">
        <pc:chgData name="Brianna Lien" userId="f3b5815a-0702-414c-9464-ffb25822869a" providerId="ADAL" clId="{A5DF8D5A-8DB1-4D40-A212-1462F010E50D}" dt="2024-04-29T14:28:46.936" v="3368" actId="2696"/>
        <pc:sldMkLst>
          <pc:docMk/>
          <pc:sldMk cId="1753043421" sldId="2147469923"/>
        </pc:sldMkLst>
      </pc:sldChg>
      <pc:sldChg chg="add del">
        <pc:chgData name="Brianna Lien" userId="f3b5815a-0702-414c-9464-ffb25822869a" providerId="ADAL" clId="{A5DF8D5A-8DB1-4D40-A212-1462F010E50D}" dt="2024-04-29T14:07:09.620" v="3277" actId="47"/>
        <pc:sldMkLst>
          <pc:docMk/>
          <pc:sldMk cId="788865827" sldId="2147476245"/>
        </pc:sldMkLst>
      </pc:sldChg>
      <pc:sldMasterChg chg="delSldLayout">
        <pc:chgData name="Brianna Lien" userId="f3b5815a-0702-414c-9464-ffb25822869a" providerId="ADAL" clId="{A5DF8D5A-8DB1-4D40-A212-1462F010E50D}" dt="2024-04-29T14:28:46.936" v="3368" actId="2696"/>
        <pc:sldMasterMkLst>
          <pc:docMk/>
          <pc:sldMasterMk cId="3277864969" sldId="2147483660"/>
        </pc:sldMasterMkLst>
        <pc:sldLayoutChg chg="del">
          <pc:chgData name="Brianna Lien" userId="f3b5815a-0702-414c-9464-ffb25822869a" providerId="ADAL" clId="{A5DF8D5A-8DB1-4D40-A212-1462F010E50D}" dt="2024-04-29T14:28:46.936" v="3368" actId="2696"/>
          <pc:sldLayoutMkLst>
            <pc:docMk/>
            <pc:sldMasterMk cId="3277864969" sldId="2147483660"/>
            <pc:sldLayoutMk cId="3513607046" sldId="2147483676"/>
          </pc:sldLayoutMkLst>
        </pc:sldLayoutChg>
      </pc:sldMasterChg>
      <pc:sldMasterChg chg="delSldLayout">
        <pc:chgData name="Brianna Lien" userId="f3b5815a-0702-414c-9464-ffb25822869a" providerId="ADAL" clId="{A5DF8D5A-8DB1-4D40-A212-1462F010E50D}" dt="2024-04-29T14:07:09.620" v="3277" actId="47"/>
        <pc:sldMasterMkLst>
          <pc:docMk/>
          <pc:sldMasterMk cId="2558327562" sldId="2147483707"/>
        </pc:sldMasterMkLst>
        <pc:sldLayoutChg chg="del">
          <pc:chgData name="Brianna Lien" userId="f3b5815a-0702-414c-9464-ffb25822869a" providerId="ADAL" clId="{A5DF8D5A-8DB1-4D40-A212-1462F010E50D}" dt="2024-04-29T14:07:09.620" v="3277" actId="47"/>
          <pc:sldLayoutMkLst>
            <pc:docMk/>
            <pc:sldMasterMk cId="2558327562" sldId="2147483707"/>
            <pc:sldLayoutMk cId="3442254273" sldId="2147483751"/>
          </pc:sldLayoutMkLst>
        </pc:sldLayoutChg>
      </pc:sldMasterChg>
      <pc:sldMasterChg chg="del delSldLayout">
        <pc:chgData name="Brianna Lien" userId="f3b5815a-0702-414c-9464-ffb25822869a" providerId="ADAL" clId="{A5DF8D5A-8DB1-4D40-A212-1462F010E50D}" dt="2024-04-29T14:56:56.604" v="3374" actId="47"/>
        <pc:sldMasterMkLst>
          <pc:docMk/>
          <pc:sldMasterMk cId="2407045559" sldId="2147483720"/>
        </pc:sldMasterMkLst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853328882" sldId="2147483721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1240335581" sldId="2147483722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2400176243" sldId="2147483723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2518246088" sldId="2147483724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4228093715" sldId="2147483725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308567295" sldId="2147483726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622422321" sldId="2147483727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326908505" sldId="2147483728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4021199614" sldId="2147483729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596890814" sldId="2147483730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2239644897" sldId="2147483731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912023760" sldId="2147483732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1288507273" sldId="2147483733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991368294" sldId="2147483734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408002058" sldId="2147483735"/>
          </pc:sldLayoutMkLst>
        </pc:sldLayoutChg>
      </pc:sldMasterChg>
    </pc:docChg>
  </pc:docChgLst>
  <pc:docChgLst>
    <pc:chgData name="Brianna Lien" userId="f3b5815a-0702-414c-9464-ffb25822869a" providerId="ADAL" clId="{EE436324-6274-427C-A630-1CFEE9136FC3}"/>
    <pc:docChg chg="modSld">
      <pc:chgData name="Brianna Lien" userId="f3b5815a-0702-414c-9464-ffb25822869a" providerId="ADAL" clId="{EE436324-6274-427C-A630-1CFEE9136FC3}" dt="2025-10-23T11:29:09.238" v="14" actId="20577"/>
      <pc:docMkLst>
        <pc:docMk/>
      </pc:docMkLst>
      <pc:sldChg chg="modSp mod">
        <pc:chgData name="Brianna Lien" userId="f3b5815a-0702-414c-9464-ffb25822869a" providerId="ADAL" clId="{EE436324-6274-427C-A630-1CFEE9136FC3}" dt="2025-10-23T11:29:09.238" v="14" actId="20577"/>
        <pc:sldMkLst>
          <pc:docMk/>
          <pc:sldMk cId="2652259109" sldId="277"/>
        </pc:sldMkLst>
        <pc:spChg chg="mod">
          <ac:chgData name="Brianna Lien" userId="f3b5815a-0702-414c-9464-ffb25822869a" providerId="ADAL" clId="{EE436324-6274-427C-A630-1CFEE9136FC3}" dt="2025-10-23T11:29:09.238" v="14" actId="20577"/>
          <ac:spMkLst>
            <pc:docMk/>
            <pc:sldMk cId="2652259109" sldId="277"/>
            <ac:spMk id="4" creationId="{611B5B65-475C-2E72-1509-2AA122FD38C0}"/>
          </ac:spMkLst>
        </pc:spChg>
        <pc:spChg chg="mod">
          <ac:chgData name="Brianna Lien" userId="f3b5815a-0702-414c-9464-ffb25822869a" providerId="ADAL" clId="{EE436324-6274-427C-A630-1CFEE9136FC3}" dt="2025-10-23T11:28:49.286" v="5" actId="207"/>
          <ac:spMkLst>
            <pc:docMk/>
            <pc:sldMk cId="2652259109" sldId="277"/>
            <ac:spMk id="49" creationId="{8D79B55B-EF59-2C9D-7B6D-84E89FDE2AAB}"/>
          </ac:spMkLst>
        </pc:spChg>
      </pc:sldChg>
    </pc:docChg>
  </pc:docChgLst>
  <pc:docChgLst>
    <pc:chgData name="Brianna Lien" userId="f3b5815a-0702-414c-9464-ffb25822869a" providerId="ADAL" clId="{E766F019-8490-4E26-84E2-621B5357DDEE}"/>
    <pc:docChg chg="undo custSel addSld delSld modSld sldOrd delMainMaster">
      <pc:chgData name="Brianna Lien" userId="f3b5815a-0702-414c-9464-ffb25822869a" providerId="ADAL" clId="{E766F019-8490-4E26-84E2-621B5357DDEE}" dt="2024-05-28T14:37:02.257" v="5790"/>
      <pc:docMkLst>
        <pc:docMk/>
      </pc:docMkLst>
      <pc:sldChg chg="modSp mod">
        <pc:chgData name="Brianna Lien" userId="f3b5815a-0702-414c-9464-ffb25822869a" providerId="ADAL" clId="{E766F019-8490-4E26-84E2-621B5357DDEE}" dt="2024-05-07T09:26:04.324" v="5715" actId="20577"/>
        <pc:sldMkLst>
          <pc:docMk/>
          <pc:sldMk cId="3143414294" sldId="258"/>
        </pc:sldMkLst>
      </pc:sldChg>
      <pc:sldChg chg="addSp delSp modSp del mod modClrScheme chgLayout">
        <pc:chgData name="Brianna Lien" userId="f3b5815a-0702-414c-9464-ffb25822869a" providerId="ADAL" clId="{E766F019-8490-4E26-84E2-621B5357DDEE}" dt="2024-05-07T07:20:27.587" v="3554" actId="47"/>
        <pc:sldMkLst>
          <pc:docMk/>
          <pc:sldMk cId="983440853" sldId="259"/>
        </pc:sldMkLst>
      </pc:sldChg>
      <pc:sldChg chg="del">
        <pc:chgData name="Brianna Lien" userId="f3b5815a-0702-414c-9464-ffb25822869a" providerId="ADAL" clId="{E766F019-8490-4E26-84E2-621B5357DDEE}" dt="2024-05-06T16:15:44.326" v="3366" actId="47"/>
        <pc:sldMkLst>
          <pc:docMk/>
          <pc:sldMk cId="1533286221" sldId="276"/>
        </pc:sldMkLst>
      </pc:sldChg>
      <pc:sldChg chg="addSp delSp modSp add mod">
        <pc:chgData name="Brianna Lien" userId="f3b5815a-0702-414c-9464-ffb25822869a" providerId="ADAL" clId="{E766F019-8490-4E26-84E2-621B5357DDEE}" dt="2024-05-03T15:59:23.943" v="2435" actId="20577"/>
        <pc:sldMkLst>
          <pc:docMk/>
          <pc:sldMk cId="2652259109" sldId="277"/>
        </pc:sldMkLst>
      </pc:sldChg>
      <pc:sldChg chg="delSp modSp mod modNotesTx">
        <pc:chgData name="Brianna Lien" userId="f3b5815a-0702-414c-9464-ffb25822869a" providerId="ADAL" clId="{E766F019-8490-4E26-84E2-621B5357DDEE}" dt="2024-05-07T08:57:16.305" v="4943" actId="947"/>
        <pc:sldMkLst>
          <pc:docMk/>
          <pc:sldMk cId="96322911" sldId="301"/>
        </pc:sldMkLst>
      </pc:sldChg>
      <pc:sldChg chg="delSp modSp add del mod">
        <pc:chgData name="Brianna Lien" userId="f3b5815a-0702-414c-9464-ffb25822869a" providerId="ADAL" clId="{E766F019-8490-4E26-84E2-621B5357DDEE}" dt="2024-05-07T09:04:16.498" v="4944" actId="478"/>
        <pc:sldMkLst>
          <pc:docMk/>
          <pc:sldMk cId="2477321240" sldId="302"/>
        </pc:sldMkLst>
      </pc:sldChg>
      <pc:sldChg chg="addSp delSp modSp mod modClrScheme chgLayout modNotesTx">
        <pc:chgData name="Brianna Lien" userId="f3b5815a-0702-414c-9464-ffb25822869a" providerId="ADAL" clId="{E766F019-8490-4E26-84E2-621B5357DDEE}" dt="2024-05-07T08:41:17.695" v="4803" actId="1038"/>
        <pc:sldMkLst>
          <pc:docMk/>
          <pc:sldMk cId="1763847388" sldId="909"/>
        </pc:sldMkLst>
      </pc:sldChg>
      <pc:sldChg chg="addSp delSp modSp mod modClrScheme delCm chgLayout modNotesTx">
        <pc:chgData name="Brianna Lien" userId="f3b5815a-0702-414c-9464-ffb25822869a" providerId="ADAL" clId="{E766F019-8490-4E26-84E2-621B5357DDEE}" dt="2024-05-03T16:08:01.242" v="2580" actId="1038"/>
        <pc:sldMkLst>
          <pc:docMk/>
          <pc:sldMk cId="2551951913" sldId="91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Brianna Lien" userId="f3b5815a-0702-414c-9464-ffb25822869a" providerId="ADAL" clId="{E766F019-8490-4E26-84E2-621B5357DDEE}" dt="2024-05-02T14:31:00.450" v="1246"/>
              <pc2:cmMkLst xmlns:pc2="http://schemas.microsoft.com/office/powerpoint/2019/9/main/command">
                <pc:docMk/>
                <pc:sldMk cId="2551951913" sldId="911"/>
                <pc2:cmMk id="{933D4E3B-AABE-4F05-8486-557598503C82}"/>
              </pc2:cmMkLst>
            </pc226:cmChg>
          </p:ext>
        </pc:extLst>
      </pc:sldChg>
      <pc:sldChg chg="addSp delSp modSp mod modClrScheme chgLayout modNotesTx">
        <pc:chgData name="Brianna Lien" userId="f3b5815a-0702-414c-9464-ffb25822869a" providerId="ADAL" clId="{E766F019-8490-4E26-84E2-621B5357DDEE}" dt="2024-05-06T16:01:07.369" v="3323" actId="947"/>
        <pc:sldMkLst>
          <pc:docMk/>
          <pc:sldMk cId="4066212355" sldId="2147375221"/>
        </pc:sldMkLst>
      </pc:sldChg>
      <pc:sldChg chg="addSp delSp modSp add mod modClrScheme chgLayout">
        <pc:chgData name="Brianna Lien" userId="f3b5815a-0702-414c-9464-ffb25822869a" providerId="ADAL" clId="{E766F019-8490-4E26-84E2-621B5357DDEE}" dt="2024-05-07T09:37:41.384" v="5742" actId="1076"/>
        <pc:sldMkLst>
          <pc:docMk/>
          <pc:sldMk cId="363803934" sldId="2147469893"/>
        </pc:sldMkLst>
      </pc:sldChg>
      <pc:sldChg chg="delSp modSp del mod">
        <pc:chgData name="Brianna Lien" userId="f3b5815a-0702-414c-9464-ffb25822869a" providerId="ADAL" clId="{E766F019-8490-4E26-84E2-621B5357DDEE}" dt="2024-05-03T16:03:24.082" v="2516" actId="2696"/>
        <pc:sldMkLst>
          <pc:docMk/>
          <pc:sldMk cId="515246607" sldId="2147469917"/>
        </pc:sldMkLst>
      </pc:sldChg>
      <pc:sldChg chg="del">
        <pc:chgData name="Brianna Lien" userId="f3b5815a-0702-414c-9464-ffb25822869a" providerId="ADAL" clId="{E766F019-8490-4E26-84E2-621B5357DDEE}" dt="2024-05-03T15:36:53.794" v="1963" actId="47"/>
        <pc:sldMkLst>
          <pc:docMk/>
          <pc:sldMk cId="2348600632" sldId="2147469920"/>
        </pc:sldMkLst>
      </pc:sldChg>
      <pc:sldChg chg="modSp del mod">
        <pc:chgData name="Brianna Lien" userId="f3b5815a-0702-414c-9464-ffb25822869a" providerId="ADAL" clId="{E766F019-8490-4E26-84E2-621B5357DDEE}" dt="2024-05-07T08:35:31.684" v="4783" actId="47"/>
        <pc:sldMkLst>
          <pc:docMk/>
          <pc:sldMk cId="4169332890" sldId="2147469921"/>
        </pc:sldMkLst>
      </pc:sldChg>
      <pc:sldChg chg="addSp delSp modSp mod modClrScheme chgLayout modNotesTx">
        <pc:chgData name="Brianna Lien" userId="f3b5815a-0702-414c-9464-ffb25822869a" providerId="ADAL" clId="{E766F019-8490-4E26-84E2-621B5357DDEE}" dt="2024-05-07T09:08:14.215" v="5087" actId="14100"/>
        <pc:sldMkLst>
          <pc:docMk/>
          <pc:sldMk cId="550996224" sldId="2147469922"/>
        </pc:sldMkLst>
      </pc:sldChg>
      <pc:sldChg chg="modSp mod modNotesTx">
        <pc:chgData name="Brianna Lien" userId="f3b5815a-0702-414c-9464-ffb25822869a" providerId="ADAL" clId="{E766F019-8490-4E26-84E2-621B5357DDEE}" dt="2024-05-02T14:17:03.512" v="1204" actId="14100"/>
        <pc:sldMkLst>
          <pc:docMk/>
          <pc:sldMk cId="2927679592" sldId="2147469924"/>
        </pc:sldMkLst>
      </pc:sldChg>
      <pc:sldChg chg="delSp add mod">
        <pc:chgData name="Brianna Lien" userId="f3b5815a-0702-414c-9464-ffb25822869a" providerId="ADAL" clId="{E766F019-8490-4E26-84E2-621B5357DDEE}" dt="2024-05-02T14:40:24.601" v="1287" actId="478"/>
        <pc:sldMkLst>
          <pc:docMk/>
          <pc:sldMk cId="3840920783" sldId="2147469925"/>
        </pc:sldMkLst>
      </pc:sldChg>
      <pc:sldChg chg="new del">
        <pc:chgData name="Brianna Lien" userId="f3b5815a-0702-414c-9464-ffb25822869a" providerId="ADAL" clId="{E766F019-8490-4E26-84E2-621B5357DDEE}" dt="2024-05-02T14:45:20.808" v="1322" actId="47"/>
        <pc:sldMkLst>
          <pc:docMk/>
          <pc:sldMk cId="2883221895" sldId="2147469926"/>
        </pc:sldMkLst>
      </pc:sldChg>
      <pc:sldChg chg="modSp new del mod">
        <pc:chgData name="Brianna Lien" userId="f3b5815a-0702-414c-9464-ffb25822869a" providerId="ADAL" clId="{E766F019-8490-4E26-84E2-621B5357DDEE}" dt="2024-05-02T14:48:12.090" v="1326" actId="47"/>
        <pc:sldMkLst>
          <pc:docMk/>
          <pc:sldMk cId="3162955663" sldId="2147469926"/>
        </pc:sldMkLst>
      </pc:sldChg>
      <pc:sldChg chg="addSp delSp modSp add mod ord modClrScheme chgLayout">
        <pc:chgData name="Brianna Lien" userId="f3b5815a-0702-414c-9464-ffb25822869a" providerId="ADAL" clId="{E766F019-8490-4E26-84E2-621B5357DDEE}" dt="2024-05-07T08:23:50.209" v="4517" actId="207"/>
        <pc:sldMkLst>
          <pc:docMk/>
          <pc:sldMk cId="3200755068" sldId="2147469927"/>
        </pc:sldMkLst>
      </pc:sldChg>
      <pc:sldChg chg="addSp delSp modSp add mod modClrScheme chgLayout">
        <pc:chgData name="Brianna Lien" userId="f3b5815a-0702-414c-9464-ffb25822869a" providerId="ADAL" clId="{E766F019-8490-4E26-84E2-621B5357DDEE}" dt="2024-05-14T09:55:19.808" v="5789" actId="478"/>
        <pc:sldMkLst>
          <pc:docMk/>
          <pc:sldMk cId="2698767485" sldId="2147469928"/>
        </pc:sldMkLst>
      </pc:sldChg>
      <pc:sldChg chg="addSp delSp modSp add mod modClrScheme chgLayout modNotesTx">
        <pc:chgData name="Brianna Lien" userId="f3b5815a-0702-414c-9464-ffb25822869a" providerId="ADAL" clId="{E766F019-8490-4E26-84E2-621B5357DDEE}" dt="2024-05-06T15:49:56.914" v="3299" actId="20577"/>
        <pc:sldMkLst>
          <pc:docMk/>
          <pc:sldMk cId="3465896249" sldId="2147469929"/>
        </pc:sldMkLst>
      </pc:sldChg>
      <pc:sldChg chg="addSp delSp modSp add mod addCm modNotesTx">
        <pc:chgData name="Brianna Lien" userId="f3b5815a-0702-414c-9464-ffb25822869a" providerId="ADAL" clId="{E766F019-8490-4E26-84E2-621B5357DDEE}" dt="2024-05-28T14:37:02.257" v="5790"/>
        <pc:sldMkLst>
          <pc:docMk/>
          <pc:sldMk cId="36038396" sldId="214746993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Brianna Lien" userId="f3b5815a-0702-414c-9464-ffb25822869a" providerId="ADAL" clId="{E766F019-8490-4E26-84E2-621B5357DDEE}" dt="2024-05-28T14:37:02.257" v="5790"/>
              <pc2:cmMkLst xmlns:pc2="http://schemas.microsoft.com/office/powerpoint/2019/9/main/command">
                <pc:docMk/>
                <pc:sldMk cId="36038396" sldId="2147469930"/>
                <pc2:cmMk id="{9C8ECE3E-1129-42BB-8793-6143F89A6576}"/>
              </pc2:cmMkLst>
            </pc226:cmChg>
          </p:ext>
        </pc:extLst>
      </pc:sldChg>
      <pc:sldChg chg="add">
        <pc:chgData name="Brianna Lien" userId="f3b5815a-0702-414c-9464-ffb25822869a" providerId="ADAL" clId="{E766F019-8490-4E26-84E2-621B5357DDEE}" dt="2024-05-06T16:15:40.300" v="3365"/>
        <pc:sldMkLst>
          <pc:docMk/>
          <pc:sldMk cId="2475446499" sldId="2147469931"/>
        </pc:sldMkLst>
      </pc:sldChg>
      <pc:sldChg chg="addSp delSp modSp add mod">
        <pc:chgData name="Brianna Lien" userId="f3b5815a-0702-414c-9464-ffb25822869a" providerId="ADAL" clId="{E766F019-8490-4E26-84E2-621B5357DDEE}" dt="2024-05-07T08:35:57.568" v="4787" actId="14100"/>
        <pc:sldMkLst>
          <pc:docMk/>
          <pc:sldMk cId="3491936847" sldId="2147469932"/>
        </pc:sldMkLst>
      </pc:sldChg>
      <pc:sldMasterChg chg="del delSldLayout">
        <pc:chgData name="Brianna Lien" userId="f3b5815a-0702-414c-9464-ffb25822869a" providerId="ADAL" clId="{E766F019-8490-4E26-84E2-621B5357DDEE}" dt="2024-05-03T16:07:41.120" v="2524" actId="700"/>
        <pc:sldMasterMkLst>
          <pc:docMk/>
          <pc:sldMasterMk cId="52872110" sldId="2147483679"/>
        </pc:sldMasterMkLst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124567722" sldId="2147483680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079902048" sldId="2147483681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186179345" sldId="2147483682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076593336" sldId="2147483683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015121411" sldId="2147483684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32728203" sldId="2147483685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674500358" sldId="2147483686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715453521" sldId="2147483687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863821249" sldId="2147483688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73213382" sldId="2147483689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468780864" sldId="2147483690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791887460" sldId="2147483691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124352495" sldId="2147483692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575697741" sldId="2147483693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067395808" sldId="2147483694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351093734" sldId="2147483695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377296047" sldId="2147483697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411532860" sldId="2147483704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575310769" sldId="2147483705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733623855" sldId="2147483706"/>
          </pc:sldLayoutMkLst>
        </pc:sldLayoutChg>
      </pc:sldMasterChg>
      <pc:sldMasterChg chg="del delSldLayout">
        <pc:chgData name="Brianna Lien" userId="f3b5815a-0702-414c-9464-ffb25822869a" providerId="ADAL" clId="{E766F019-8490-4E26-84E2-621B5357DDEE}" dt="2024-05-03T16:06:24.381" v="2517" actId="700"/>
        <pc:sldMasterMkLst>
          <pc:docMk/>
          <pc:sldMasterMk cId="2558327562" sldId="2147483707"/>
        </pc:sldMasterMkLst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611089914" sldId="2147483708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3034447273" sldId="2147483709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3609281010" sldId="2147483710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2662222582" sldId="2147483711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22732430" sldId="2147483712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594629679" sldId="2147483713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1422971319" sldId="2147483714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3327245959" sldId="2147483715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1696561265" sldId="2147483716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780382094" sldId="2147483717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1161137700" sldId="2147483718"/>
          </pc:sldLayoutMkLst>
        </pc:sldLayoutChg>
      </pc:sldMasterChg>
    </pc:docChg>
  </pc:docChgLst>
  <pc:docChgLst>
    <pc:chgData name="Moritz Holenstein" userId="87295f47-034d-4a9a-b17d-8559f74f3012" providerId="ADAL" clId="{A6CE2130-F5A6-4EAC-8C58-D3D0FB01013A}"/>
    <pc:docChg chg="modSld">
      <pc:chgData name="Moritz Holenstein" userId="87295f47-034d-4a9a-b17d-8559f74f3012" providerId="ADAL" clId="{A6CE2130-F5A6-4EAC-8C58-D3D0FB01013A}" dt="2024-12-04T08:56:27.561" v="7" actId="790"/>
      <pc:docMkLst>
        <pc:docMk/>
      </pc:docMkLst>
      <pc:sldChg chg="modSp mod">
        <pc:chgData name="Moritz Holenstein" userId="87295f47-034d-4a9a-b17d-8559f74f3012" providerId="ADAL" clId="{A6CE2130-F5A6-4EAC-8C58-D3D0FB01013A}" dt="2024-12-04T08:40:38.489" v="0" actId="20577"/>
        <pc:sldMkLst>
          <pc:docMk/>
          <pc:sldMk cId="2652259109" sldId="277"/>
        </pc:sldMkLst>
      </pc:sldChg>
      <pc:sldChg chg="modSp mod">
        <pc:chgData name="Moritz Holenstein" userId="87295f47-034d-4a9a-b17d-8559f74f3012" providerId="ADAL" clId="{A6CE2130-F5A6-4EAC-8C58-D3D0FB01013A}" dt="2024-12-04T08:56:27.561" v="7" actId="790"/>
        <pc:sldMkLst>
          <pc:docMk/>
          <pc:sldMk cId="36038396" sldId="2147469930"/>
        </pc:sldMkLst>
      </pc:sldChg>
    </pc:docChg>
  </pc:docChgLst>
  <pc:docChgLst>
    <pc:chgData name="Brianna Lien" userId="f3b5815a-0702-414c-9464-ffb25822869a" providerId="ADAL" clId="{ECDAFB57-FA01-4433-90EE-F6EDE71CD488}"/>
    <pc:docChg chg="undo custSel addSld delSld modSld delMainMaster">
      <pc:chgData name="Brianna Lien" userId="f3b5815a-0702-414c-9464-ffb25822869a" providerId="ADAL" clId="{ECDAFB57-FA01-4433-90EE-F6EDE71CD488}" dt="2025-01-10T14:30:14.408" v="815" actId="207"/>
      <pc:docMkLst>
        <pc:docMk/>
      </pc:docMkLst>
      <pc:sldChg chg="addSp delSp modSp mod">
        <pc:chgData name="Brianna Lien" userId="f3b5815a-0702-414c-9464-ffb25822869a" providerId="ADAL" clId="{ECDAFB57-FA01-4433-90EE-F6EDE71CD488}" dt="2025-01-09T09:07:02.033" v="688" actId="20577"/>
        <pc:sldMkLst>
          <pc:docMk/>
          <pc:sldMk cId="2652259109" sldId="277"/>
        </pc:sldMkLst>
      </pc:sldChg>
      <pc:sldChg chg="del">
        <pc:chgData name="Brianna Lien" userId="f3b5815a-0702-414c-9464-ffb25822869a" providerId="ADAL" clId="{ECDAFB57-FA01-4433-90EE-F6EDE71CD488}" dt="2024-06-05T13:58:26.825" v="11" actId="47"/>
        <pc:sldMkLst>
          <pc:docMk/>
          <pc:sldMk cId="96322911" sldId="301"/>
        </pc:sldMkLst>
      </pc:sldChg>
      <pc:sldChg chg="del">
        <pc:chgData name="Brianna Lien" userId="f3b5815a-0702-414c-9464-ffb25822869a" providerId="ADAL" clId="{ECDAFB57-FA01-4433-90EE-F6EDE71CD488}" dt="2024-06-05T13:57:41.946" v="0" actId="47"/>
        <pc:sldMkLst>
          <pc:docMk/>
          <pc:sldMk cId="2477321240" sldId="302"/>
        </pc:sldMkLst>
      </pc:sldChg>
      <pc:sldChg chg="del">
        <pc:chgData name="Brianna Lien" userId="f3b5815a-0702-414c-9464-ffb25822869a" providerId="ADAL" clId="{ECDAFB57-FA01-4433-90EE-F6EDE71CD488}" dt="2024-06-05T13:58:23.526" v="9" actId="47"/>
        <pc:sldMkLst>
          <pc:docMk/>
          <pc:sldMk cId="1763847388" sldId="909"/>
        </pc:sldMkLst>
      </pc:sldChg>
      <pc:sldChg chg="del">
        <pc:chgData name="Brianna Lien" userId="f3b5815a-0702-414c-9464-ffb25822869a" providerId="ADAL" clId="{ECDAFB57-FA01-4433-90EE-F6EDE71CD488}" dt="2024-06-05T13:58:11.400" v="2" actId="47"/>
        <pc:sldMkLst>
          <pc:docMk/>
          <pc:sldMk cId="2551951913" sldId="911"/>
        </pc:sldMkLst>
      </pc:sldChg>
      <pc:sldChg chg="del">
        <pc:chgData name="Brianna Lien" userId="f3b5815a-0702-414c-9464-ffb25822869a" providerId="ADAL" clId="{ECDAFB57-FA01-4433-90EE-F6EDE71CD488}" dt="2024-06-05T13:58:12.811" v="4" actId="47"/>
        <pc:sldMkLst>
          <pc:docMk/>
          <pc:sldMk cId="4066212355" sldId="2147375221"/>
        </pc:sldMkLst>
      </pc:sldChg>
      <pc:sldChg chg="del">
        <pc:chgData name="Brianna Lien" userId="f3b5815a-0702-414c-9464-ffb25822869a" providerId="ADAL" clId="{ECDAFB57-FA01-4433-90EE-F6EDE71CD488}" dt="2024-06-05T13:58:13.991" v="6" actId="47"/>
        <pc:sldMkLst>
          <pc:docMk/>
          <pc:sldMk cId="363803934" sldId="2147469893"/>
        </pc:sldMkLst>
      </pc:sldChg>
      <pc:sldChg chg="del">
        <pc:chgData name="Brianna Lien" userId="f3b5815a-0702-414c-9464-ffb25822869a" providerId="ADAL" clId="{ECDAFB57-FA01-4433-90EE-F6EDE71CD488}" dt="2024-06-05T13:58:19.968" v="8" actId="47"/>
        <pc:sldMkLst>
          <pc:docMk/>
          <pc:sldMk cId="550996224" sldId="2147469922"/>
        </pc:sldMkLst>
      </pc:sldChg>
      <pc:sldChg chg="del">
        <pc:chgData name="Brianna Lien" userId="f3b5815a-0702-414c-9464-ffb25822869a" providerId="ADAL" clId="{ECDAFB57-FA01-4433-90EE-F6EDE71CD488}" dt="2024-06-05T13:58:10.581" v="1" actId="47"/>
        <pc:sldMkLst>
          <pc:docMk/>
          <pc:sldMk cId="2927679592" sldId="2147469924"/>
        </pc:sldMkLst>
      </pc:sldChg>
      <pc:sldChg chg="del">
        <pc:chgData name="Brianna Lien" userId="f3b5815a-0702-414c-9464-ffb25822869a" providerId="ADAL" clId="{ECDAFB57-FA01-4433-90EE-F6EDE71CD488}" dt="2024-06-05T14:10:03.516" v="126" actId="47"/>
        <pc:sldMkLst>
          <pc:docMk/>
          <pc:sldMk cId="3840920783" sldId="2147469925"/>
        </pc:sldMkLst>
      </pc:sldChg>
      <pc:sldChg chg="del">
        <pc:chgData name="Brianna Lien" userId="f3b5815a-0702-414c-9464-ffb25822869a" providerId="ADAL" clId="{ECDAFB57-FA01-4433-90EE-F6EDE71CD488}" dt="2024-06-05T13:58:13.417" v="5" actId="47"/>
        <pc:sldMkLst>
          <pc:docMk/>
          <pc:sldMk cId="3200755068" sldId="2147469927"/>
        </pc:sldMkLst>
      </pc:sldChg>
      <pc:sldChg chg="del">
        <pc:chgData name="Brianna Lien" userId="f3b5815a-0702-414c-9464-ffb25822869a" providerId="ADAL" clId="{ECDAFB57-FA01-4433-90EE-F6EDE71CD488}" dt="2024-06-05T13:58:12.088" v="3" actId="47"/>
        <pc:sldMkLst>
          <pc:docMk/>
          <pc:sldMk cId="2698767485" sldId="2147469928"/>
        </pc:sldMkLst>
      </pc:sldChg>
      <pc:sldChg chg="modSp mod">
        <pc:chgData name="Brianna Lien" userId="f3b5815a-0702-414c-9464-ffb25822869a" providerId="ADAL" clId="{ECDAFB57-FA01-4433-90EE-F6EDE71CD488}" dt="2025-01-09T09:06:23.257" v="677" actId="20577"/>
        <pc:sldMkLst>
          <pc:docMk/>
          <pc:sldMk cId="36038396" sldId="2147469930"/>
        </pc:sldMkLst>
      </pc:sldChg>
      <pc:sldChg chg="addSp delSp modSp add mod">
        <pc:chgData name="Brianna Lien" userId="f3b5815a-0702-414c-9464-ffb25822869a" providerId="ADAL" clId="{ECDAFB57-FA01-4433-90EE-F6EDE71CD488}" dt="2025-01-10T14:30:14.408" v="815" actId="207"/>
        <pc:sldMkLst>
          <pc:docMk/>
          <pc:sldMk cId="2138931742" sldId="2147469931"/>
        </pc:sldMkLst>
      </pc:sldChg>
      <pc:sldChg chg="del">
        <pc:chgData name="Brianna Lien" userId="f3b5815a-0702-414c-9464-ffb25822869a" providerId="ADAL" clId="{ECDAFB57-FA01-4433-90EE-F6EDE71CD488}" dt="2024-06-05T13:58:25.380" v="10" actId="47"/>
        <pc:sldMkLst>
          <pc:docMk/>
          <pc:sldMk cId="2475446499" sldId="2147469931"/>
        </pc:sldMkLst>
      </pc:sldChg>
      <pc:sldChg chg="add del">
        <pc:chgData name="Brianna Lien" userId="f3b5815a-0702-414c-9464-ffb25822869a" providerId="ADAL" clId="{ECDAFB57-FA01-4433-90EE-F6EDE71CD488}" dt="2024-12-03T12:32:51.165" v="317" actId="47"/>
        <pc:sldMkLst>
          <pc:docMk/>
          <pc:sldMk cId="2234112327" sldId="2147469932"/>
        </pc:sldMkLst>
      </pc:sldChg>
      <pc:sldChg chg="del">
        <pc:chgData name="Brianna Lien" userId="f3b5815a-0702-414c-9464-ffb25822869a" providerId="ADAL" clId="{ECDAFB57-FA01-4433-90EE-F6EDE71CD488}" dt="2024-06-05T13:58:14.630" v="7" actId="47"/>
        <pc:sldMkLst>
          <pc:docMk/>
          <pc:sldMk cId="3491936847" sldId="2147469932"/>
        </pc:sldMkLst>
      </pc:sldChg>
      <pc:sldChg chg="modSp del mod">
        <pc:chgData name="Brianna Lien" userId="f3b5815a-0702-414c-9464-ffb25822869a" providerId="ADAL" clId="{ECDAFB57-FA01-4433-90EE-F6EDE71CD488}" dt="2024-06-05T14:05:41.036" v="69" actId="47"/>
        <pc:sldMkLst>
          <pc:docMk/>
          <pc:sldMk cId="1704104141" sldId="2147469933"/>
        </pc:sldMkLst>
      </pc:sldChg>
      <pc:sldMasterChg chg="del delSldLayout">
        <pc:chgData name="Brianna Lien" userId="f3b5815a-0702-414c-9464-ffb25822869a" providerId="ADAL" clId="{ECDAFB57-FA01-4433-90EE-F6EDE71CD488}" dt="2024-06-05T13:58:10.581" v="1" actId="47"/>
        <pc:sldMasterMkLst>
          <pc:docMk/>
          <pc:sldMasterMk cId="3277864969" sldId="2147483660"/>
        </pc:sldMasterMkLst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941736032" sldId="2147483661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584056026" sldId="2147483662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940023540" sldId="2147483663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397683394" sldId="2147483664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184957571" sldId="2147483665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003376479" sldId="2147483666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276433921" sldId="2147483667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328037591" sldId="2147483668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490169565" sldId="2147483669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744275830" sldId="2147483670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741184460" sldId="2147483671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898656371" sldId="2147483672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769529659" sldId="2147483673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023968041" sldId="2147483674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736039943" sldId="2147483675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592306716" sldId="2147483677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637483254" sldId="2147483678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094220978" sldId="2147483719"/>
          </pc:sldLayoutMkLst>
        </pc:sldLayoutChg>
      </pc:sldMasterChg>
      <pc:sldMasterChg chg="delSldLayout">
        <pc:chgData name="Brianna Lien" userId="f3b5815a-0702-414c-9464-ffb25822869a" providerId="ADAL" clId="{ECDAFB57-FA01-4433-90EE-F6EDE71CD488}" dt="2024-06-05T13:58:25.380" v="10" actId="47"/>
        <pc:sldMasterMkLst>
          <pc:docMk/>
          <pc:sldMasterMk cId="1901923768" sldId="2147483751"/>
        </pc:sldMasterMkLst>
        <pc:sldLayoutChg chg="del">
          <pc:chgData name="Brianna Lien" userId="f3b5815a-0702-414c-9464-ffb25822869a" providerId="ADAL" clId="{ECDAFB57-FA01-4433-90EE-F6EDE71CD488}" dt="2024-06-05T13:58:25.380" v="10" actId="47"/>
          <pc:sldLayoutMkLst>
            <pc:docMk/>
            <pc:sldMasterMk cId="1901923768" sldId="2147483751"/>
            <pc:sldLayoutMk cId="713464161" sldId="2147483780"/>
          </pc:sldLayoutMkLst>
        </pc:sldLayoutChg>
      </pc:sldMasterChg>
    </pc:docChg>
  </pc:docChgLst>
  <pc:docChgLst>
    <pc:chgData name="Brianna Lien" userId="f3b5815a-0702-414c-9464-ffb25822869a" providerId="ADAL" clId="{8CA526B5-AD9E-4C27-8267-E9CD6665A452}"/>
    <pc:docChg chg="custSel modSld">
      <pc:chgData name="Brianna Lien" userId="f3b5815a-0702-414c-9464-ffb25822869a" providerId="ADAL" clId="{8CA526B5-AD9E-4C27-8267-E9CD6665A452}" dt="2025-05-13T08:54:22.576" v="4" actId="20577"/>
      <pc:docMkLst>
        <pc:docMk/>
      </pc:docMkLst>
      <pc:sldChg chg="modSp mod">
        <pc:chgData name="Brianna Lien" userId="f3b5815a-0702-414c-9464-ffb25822869a" providerId="ADAL" clId="{8CA526B5-AD9E-4C27-8267-E9CD6665A452}" dt="2025-05-13T08:54:22.576" v="4" actId="20577"/>
        <pc:sldMkLst>
          <pc:docMk/>
          <pc:sldMk cId="2652259109" sldId="277"/>
        </pc:sldMkLst>
      </pc:sldChg>
      <pc:sldChg chg="modSp mod">
        <pc:chgData name="Brianna Lien" userId="f3b5815a-0702-414c-9464-ffb25822869a" providerId="ADAL" clId="{8CA526B5-AD9E-4C27-8267-E9CD6665A452}" dt="2025-05-13T08:51:09.736" v="0" actId="207"/>
        <pc:sldMkLst>
          <pc:docMk/>
          <pc:sldMk cId="36038396" sldId="214746993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3766908212560379"/>
          <c:y val="0.777671862584317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7132327209098863"/>
          <c:y val="0.11753373330226242"/>
          <c:w val="0.48736638898398571"/>
          <c:h val="0.573669747750831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A25-9842-B7B7-CD267EDEB977}"/>
              </c:ext>
            </c:extLst>
          </c:dPt>
          <c:dPt>
            <c:idx val="1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A25-9842-B7B7-CD267EDEB977}"/>
              </c:ext>
            </c:extLst>
          </c:dPt>
          <c:cat>
            <c:strRef>
              <c:f>Sheet1!$A$2:$A$3</c:f>
              <c:strCache>
                <c:ptCount val="2"/>
                <c:pt idx="0">
                  <c:v>ADT Alone (N=554)</c:v>
                </c:pt>
                <c:pt idx="1">
                  <c:v>Product X + ADT (N=955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.399999999999999</c:v>
                </c:pt>
                <c:pt idx="1">
                  <c:v>4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A25-9842-B7B7-CD267EDEB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44902607"/>
        <c:axId val="544595407"/>
      </c:barChart>
      <c:catAx>
        <c:axId val="5449026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4595407"/>
        <c:crosses val="autoZero"/>
        <c:auto val="1"/>
        <c:lblAlgn val="ctr"/>
        <c:lblOffset val="100"/>
        <c:noMultiLvlLbl val="0"/>
      </c:catAx>
      <c:valAx>
        <c:axId val="5445954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4902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821484270987869"/>
          <c:y val="0.84890283252479115"/>
          <c:w val="0.3543914755220815"/>
          <c:h val="4.93213196873284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390C2B-7162-414C-B9FC-717C29B39D6D}" type="datetimeFigureOut">
              <a:rPr lang="de-DE" smtClean="0"/>
              <a:t>03.11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6897D8-B621-4400-8E77-A874696C1EA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973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F068B-4865-F409-AAA2-ECB681733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4188E3-389A-9A16-958C-506B3E7B02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0F7917-F01E-E272-EF4A-5FECD66658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80473F-C7B1-3C1B-6817-EC2AAF76DF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6897D8-B621-4400-8E77-A874696C1EA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38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F068B-4865-F409-AAA2-ECB681733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4188E3-389A-9A16-958C-506B3E7B02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0F7917-F01E-E272-EF4A-5FECD66658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80473F-C7B1-3C1B-6817-EC2AAF76DF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6897D8-B621-4400-8E77-A874696C1EA9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5211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74544E1-1D09-AB48-85D9-A481C4FDF1D0}"/>
              </a:ext>
            </a:extLst>
          </p:cNvPr>
          <p:cNvGrpSpPr/>
          <p:nvPr userDrawn="1"/>
        </p:nvGrpSpPr>
        <p:grpSpPr>
          <a:xfrm>
            <a:off x="0" y="0"/>
            <a:ext cx="10113069" cy="6858000"/>
            <a:chOff x="20548" y="0"/>
            <a:chExt cx="10113069" cy="6858000"/>
          </a:xfrm>
        </p:grpSpPr>
        <p:sp>
          <p:nvSpPr>
            <p:cNvPr id="35" name="Parallelogram 34">
              <a:extLst>
                <a:ext uri="{FF2B5EF4-FFF2-40B4-BE49-F238E27FC236}">
                  <a16:creationId xmlns:a16="http://schemas.microsoft.com/office/drawing/2014/main" id="{82BFB1BB-79D2-BE49-B32E-796759290FA6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AF1FF3CA-EB91-6949-9C97-5A2D57B5FF3D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95300" y="1122363"/>
            <a:ext cx="7217464" cy="2387600"/>
          </a:xfrm>
        </p:spPr>
        <p:txBody>
          <a:bodyPr anchor="b">
            <a:normAutofit/>
          </a:bodyPr>
          <a:lstStyle>
            <a:lvl1pPr algn="l">
              <a:defRPr sz="3600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95300" y="3602038"/>
            <a:ext cx="7217464" cy="1655762"/>
          </a:xfrm>
        </p:spPr>
        <p:txBody>
          <a:bodyPr lIns="27432">
            <a:normAutofit/>
          </a:bodyPr>
          <a:lstStyle>
            <a:lvl1pPr marL="0" indent="0" algn="l">
              <a:spcBef>
                <a:spcPts val="600"/>
              </a:spcBef>
              <a:buNone/>
              <a:tabLst>
                <a:tab pos="1139825" algn="l"/>
              </a:tabLst>
              <a:defRPr sz="20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5BEB15-B2B8-354F-A837-87D401F033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49829" y="4348904"/>
            <a:ext cx="3165108" cy="214923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C30099A-3FDF-224E-9AED-73506F5DD8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297016" y="336924"/>
            <a:ext cx="1014516" cy="401637"/>
          </a:xfrm>
          <a:prstGeom prst="rect">
            <a:avLst/>
          </a:prstGeom>
        </p:spPr>
      </p:pic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BD3DC730-8A32-F84B-9876-9110A37E47C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CE44606-D3B9-6C43-82A9-F1CDB5D49BFD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A1FC7EC5-A43F-E445-8E38-FD6B75E4F64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4038600" y="6356350"/>
            <a:ext cx="3531243" cy="365125"/>
          </a:xfrm>
        </p:spPr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8C7C6FA7-3214-9D45-89CA-C2538FCFB86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F894715-2381-2544-8D3E-69C2484082E1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C05D1E0-697E-A64A-BEEE-8165753E26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6A8BB81E-499F-2B44-B243-C09A0FEBB5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4274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 exam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FA904D-ED8C-AC41-84DE-8253AE32D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B198B-4860-5D47-8F6A-97B7EF5153E4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E223AD-CE3D-734A-98DA-F7BD9700D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C8BEBF-ADEB-9247-AC7D-F5F282502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AD822D11-7787-5E4F-BC20-6797A5D6734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552731942"/>
              </p:ext>
            </p:extLst>
          </p:nvPr>
        </p:nvGraphicFramePr>
        <p:xfrm>
          <a:off x="1053750" y="1634706"/>
          <a:ext cx="10515600" cy="4866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F7810F2-6875-284F-9C46-4B746216E615}"/>
              </a:ext>
            </a:extLst>
          </p:cNvPr>
          <p:cNvGrpSpPr/>
          <p:nvPr userDrawn="1"/>
        </p:nvGrpSpPr>
        <p:grpSpPr>
          <a:xfrm>
            <a:off x="495300" y="1414514"/>
            <a:ext cx="10622363" cy="545786"/>
            <a:chOff x="445058" y="1414514"/>
            <a:chExt cx="10622363" cy="545786"/>
          </a:xfrm>
        </p:grpSpPr>
        <p:sp>
          <p:nvSpPr>
            <p:cNvPr id="11" name="Content Placeholder 7">
              <a:extLst>
                <a:ext uri="{FF2B5EF4-FFF2-40B4-BE49-F238E27FC236}">
                  <a16:creationId xmlns:a16="http://schemas.microsoft.com/office/drawing/2014/main" id="{BF6D785F-3AEF-3845-905B-6CCFDAF9BBF9}"/>
                </a:ext>
              </a:extLst>
            </p:cNvPr>
            <p:cNvSpPr txBox="1">
              <a:spLocks/>
            </p:cNvSpPr>
            <p:nvPr/>
          </p:nvSpPr>
          <p:spPr>
            <a:xfrm>
              <a:off x="445058" y="1414514"/>
              <a:ext cx="10622363" cy="545786"/>
            </a:xfrm>
            <a:prstGeom prst="rect">
              <a:avLst/>
            </a:prstGeom>
          </p:spPr>
          <p:txBody>
            <a:bodyPr vert="horz" lIns="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Helvetica" pitchFamily="2" charset="0"/>
                <a:buChar char="―"/>
                <a:defRPr sz="20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ourier New" panose="02070309020205020404" pitchFamily="49" charset="0"/>
                <a:buChar char="o"/>
                <a:defRPr sz="18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Highly significant increase in MFS vs ADT alone 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A2E8C18-73B6-EF42-A02C-C2BEDF582367}"/>
                </a:ext>
              </a:extLst>
            </p:cNvPr>
            <p:cNvCxnSpPr/>
            <p:nvPr/>
          </p:nvCxnSpPr>
          <p:spPr>
            <a:xfrm>
              <a:off x="445058" y="1899138"/>
              <a:ext cx="1042014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1EEF3D0-910B-0342-9BCF-2D0FEE484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D647CD-5116-964E-9E94-F194DE20D755}"/>
              </a:ext>
            </a:extLst>
          </p:cNvPr>
          <p:cNvSpPr/>
          <p:nvPr userDrawn="1"/>
        </p:nvSpPr>
        <p:spPr>
          <a:xfrm>
            <a:off x="4835719" y="127221"/>
            <a:ext cx="3236181" cy="7553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tyle Example Only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Charts cannot be templated</a:t>
            </a:r>
          </a:p>
        </p:txBody>
      </p:sp>
    </p:spTree>
    <p:extLst>
      <p:ext uri="{BB962C8B-B14F-4D97-AF65-F5344CB8AC3E}">
        <p14:creationId xmlns:p14="http://schemas.microsoft.com/office/powerpoint/2010/main" val="2206878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Exam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427890-ADB8-B24B-8AF6-B623EB4D7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9470BA-A674-B94A-BE3E-27443BADEBCC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35417F-6848-0341-A8F4-A31CF5A130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10FB84-49F2-EE4F-93B5-2E732A147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9F23A7D-69A5-2846-9794-FE510EE271B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37638683"/>
              </p:ext>
            </p:extLst>
          </p:nvPr>
        </p:nvGraphicFramePr>
        <p:xfrm>
          <a:off x="2083956" y="2137709"/>
          <a:ext cx="7201210" cy="293917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0242">
                  <a:extLst>
                    <a:ext uri="{9D8B030D-6E8A-4147-A177-3AD203B41FA5}">
                      <a16:colId xmlns:a16="http://schemas.microsoft.com/office/drawing/2014/main" val="3957934296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3389176171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2668702004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4278197419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774662539"/>
                    </a:ext>
                  </a:extLst>
                </a:gridCol>
              </a:tblGrid>
              <a:tr h="645685">
                <a:tc>
                  <a:txBody>
                    <a:bodyPr/>
                    <a:lstStyle/>
                    <a:p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b="0" cap="none" spc="0" dirty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29324"/>
                  </a:ext>
                </a:extLst>
              </a:tr>
              <a:tr h="572756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318197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7712195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8281970"/>
                  </a:ext>
                </a:extLst>
              </a:tr>
            </a:tbl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8675FDF3-1F72-0540-A111-532C2AFF9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7D5F87-7E05-A54C-B75B-D3238725747F}"/>
              </a:ext>
            </a:extLst>
          </p:cNvPr>
          <p:cNvSpPr/>
          <p:nvPr userDrawn="1"/>
        </p:nvSpPr>
        <p:spPr>
          <a:xfrm>
            <a:off x="4835719" y="127221"/>
            <a:ext cx="3236181" cy="7553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tyle Example Only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Tables cannot be templa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170E67E-9ABC-2D4F-937D-3CD77FBD4A1D}"/>
              </a:ext>
            </a:extLst>
          </p:cNvPr>
          <p:cNvGrpSpPr/>
          <p:nvPr userDrawn="1"/>
        </p:nvGrpSpPr>
        <p:grpSpPr>
          <a:xfrm>
            <a:off x="2083956" y="1472638"/>
            <a:ext cx="9033707" cy="545786"/>
            <a:chOff x="2033714" y="1472638"/>
            <a:chExt cx="9033707" cy="545786"/>
          </a:xfrm>
        </p:grpSpPr>
        <p:sp>
          <p:nvSpPr>
            <p:cNvPr id="11" name="Content Placeholder 7">
              <a:extLst>
                <a:ext uri="{FF2B5EF4-FFF2-40B4-BE49-F238E27FC236}">
                  <a16:creationId xmlns:a16="http://schemas.microsoft.com/office/drawing/2014/main" id="{24B5BAB3-15B5-8644-B023-9811CD87B122}"/>
                </a:ext>
              </a:extLst>
            </p:cNvPr>
            <p:cNvSpPr txBox="1">
              <a:spLocks/>
            </p:cNvSpPr>
            <p:nvPr/>
          </p:nvSpPr>
          <p:spPr>
            <a:xfrm>
              <a:off x="2033714" y="1472638"/>
              <a:ext cx="9033707" cy="545786"/>
            </a:xfrm>
            <a:prstGeom prst="rect">
              <a:avLst/>
            </a:prstGeom>
          </p:spPr>
          <p:txBody>
            <a:bodyPr vert="horz" lIns="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Helvetica" pitchFamily="2" charset="0"/>
                <a:buChar char="―"/>
                <a:defRPr sz="20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ourier New" panose="02070309020205020404" pitchFamily="49" charset="0"/>
                <a:buChar char="o"/>
                <a:defRPr sz="18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Table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9006CA3-C958-8548-A9BA-119C6D4F859B}"/>
                </a:ext>
              </a:extLst>
            </p:cNvPr>
            <p:cNvCxnSpPr>
              <a:cxnSpLocks/>
            </p:cNvCxnSpPr>
            <p:nvPr/>
          </p:nvCxnSpPr>
          <p:spPr>
            <a:xfrm>
              <a:off x="2033714" y="1899138"/>
              <a:ext cx="720121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54109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88CBA-B1E9-5943-8F4A-6BE859EC9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3506" y="1864281"/>
            <a:ext cx="6172200" cy="368572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AF3F6E-6154-1045-826E-39C332920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44ACD-FC73-5041-B59E-8E665B5F2471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3AA38A-A203-E844-9D1B-2248DDE1C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A11E2F-5213-8D42-97AD-3ADF8E30A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66" y="6397451"/>
            <a:ext cx="394643" cy="324024"/>
          </a:xfrm>
        </p:spPr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824CEAE-9DE2-124A-916A-B912EA200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9237C4A-455C-6141-A5F7-EE17FF75CE27}"/>
              </a:ext>
            </a:extLst>
          </p:cNvPr>
          <p:cNvSpPr txBox="1">
            <a:spLocks/>
          </p:cNvSpPr>
          <p:nvPr userDrawn="1"/>
        </p:nvSpPr>
        <p:spPr>
          <a:xfrm>
            <a:off x="839788" y="984079"/>
            <a:ext cx="3932237" cy="1600200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A6D7610-CBFE-1746-914B-FC52DCFF09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925036"/>
            <a:ext cx="3933825" cy="1458912"/>
          </a:xfrm>
        </p:spPr>
        <p:txBody>
          <a:bodyPr anchor="t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123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A34716-9CB5-0B46-9BC2-9833CC8B77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494846"/>
            <a:ext cx="6172200" cy="3912042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56B722-8619-394F-8953-EEAE4672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40927"/>
            <a:ext cx="3932237" cy="196596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36B82E-341C-9D49-BE66-C1B30D426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8CF7B-2017-C642-A9EE-8A02B9085AE7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E584CC-6AF3-BA45-A758-AE9107A98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85300-3194-3D44-A000-58B58BCB1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EB02C3C5-7F6B-694F-8C79-105306958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125128"/>
            <a:ext cx="10448193" cy="8908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E1A07E2-D097-A748-A2EB-77F8BD79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925036"/>
            <a:ext cx="3933825" cy="1458912"/>
          </a:xfrm>
        </p:spPr>
        <p:txBody>
          <a:bodyPr anchor="b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89338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03336" y="187690"/>
            <a:ext cx="10799866" cy="78203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490466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54F63-F91E-4FB9-B337-0BF43F3795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91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5AADF22-57BE-5644-9C47-1004662BB29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6" name="Picture 2" descr="Logo&#10;&#10;Description automatically generated">
            <a:extLst>
              <a:ext uri="{FF2B5EF4-FFF2-40B4-BE49-F238E27FC236}">
                <a16:creationId xmlns:a16="http://schemas.microsoft.com/office/drawing/2014/main" id="{BD1C8730-CA94-78A7-D66E-BE92561DA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4159"/>
          <a:stretch/>
        </p:blipFill>
        <p:spPr>
          <a:xfrm>
            <a:off x="1464527" y="125581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64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1EB75A-C591-401F-AF89-9D380C47F2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2" name="Picture 2" descr="Logo&#10;&#10;Description automatically generated">
            <a:extLst>
              <a:ext uri="{FF2B5EF4-FFF2-40B4-BE49-F238E27FC236}">
                <a16:creationId xmlns:a16="http://schemas.microsoft.com/office/drawing/2014/main" id="{2E873185-5DCF-C7B0-5989-F54C4737C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4159"/>
          <a:stretch/>
        </p:blipFill>
        <p:spPr>
          <a:xfrm>
            <a:off x="10558652" y="50766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33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BB05317-17DF-487F-B85C-CEEFDC19C55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2" name="Picture 2" descr="Logo&#10;&#10;Description automatically generated">
            <a:extLst>
              <a:ext uri="{FF2B5EF4-FFF2-40B4-BE49-F238E27FC236}">
                <a16:creationId xmlns:a16="http://schemas.microsoft.com/office/drawing/2014/main" id="{E7E68122-26AB-2952-7F08-2A3C7A6628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4159"/>
          <a:stretch/>
        </p:blipFill>
        <p:spPr>
          <a:xfrm>
            <a:off x="10558652" y="50766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57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03336" y="187692"/>
            <a:ext cx="10799866" cy="78203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0069237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490467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54F63-F91E-4FB9-B337-0BF43F3795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0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3"/>
            <a:ext cx="11193569" cy="45537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7F219C-959B-4E65-808A-E0F315709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E7EEA2-1B99-4A35-8D12-1868D78F0B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anchor="b"/>
          <a:lstStyle>
            <a:lvl1pPr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97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3375C0B6-51F5-4644-852C-D4408F558C71}"/>
              </a:ext>
            </a:extLst>
          </p:cNvPr>
          <p:cNvGrpSpPr/>
          <p:nvPr userDrawn="1"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32" name="Parallelogram 31">
              <a:extLst>
                <a:ext uri="{FF2B5EF4-FFF2-40B4-BE49-F238E27FC236}">
                  <a16:creationId xmlns:a16="http://schemas.microsoft.com/office/drawing/2014/main" id="{26ECE3BE-FA01-FA44-8A4D-A422F5F6054A}"/>
                </a:ext>
              </a:extLst>
            </p:cNvPr>
            <p:cNvSpPr/>
            <p:nvPr userDrawn="1"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D2A5B07-B3EF-B044-AC38-067826BFF065}"/>
                </a:ext>
              </a:extLst>
            </p:cNvPr>
            <p:cNvSpPr/>
            <p:nvPr userDrawn="1"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686292"/>
            <a:ext cx="4824123" cy="2852737"/>
          </a:xfrm>
        </p:spPr>
        <p:txBody>
          <a:bodyPr anchor="b">
            <a:normAutofit/>
          </a:bodyPr>
          <a:lstStyle>
            <a:lvl1pPr>
              <a:defRPr sz="36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589463"/>
            <a:ext cx="4492820" cy="1500187"/>
          </a:xfrm>
        </p:spPr>
        <p:txBody>
          <a:bodyPr lIns="27432"/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768215-1EA3-4546-AC03-C34B3AB5989B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176550-E523-9544-97FD-F93FBD1E6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4907" y="6356350"/>
            <a:ext cx="3582186" cy="365125"/>
          </a:xfrm>
        </p:spPr>
        <p:txBody>
          <a:bodyPr/>
          <a:lstStyle>
            <a:lvl1pPr algn="ctr">
              <a:defRPr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4AB8BD-99E5-6F4A-A7A6-C8FE77ADC6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49829" y="4348904"/>
            <a:ext cx="3165108" cy="214923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FB3D1BB3-7A61-A64E-9A27-A2B35D34007A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74743B5-B2B5-1643-B456-A2991DAEBB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59C87F7-1065-B74C-ACFD-F14A65DB4B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9291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188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0"/>
            <a:ext cx="522068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194649" y="1732750"/>
            <a:ext cx="522068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5EB31E1-976E-4835-9275-D815FFEBA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C3F6E3-995F-4A21-BA25-15B00F0F6D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10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51" y="1138299"/>
            <a:ext cx="10800843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3892752"/>
            <a:ext cx="522068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011861" y="3892752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531049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011861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9AB890-57F5-4495-9B80-E68FC0BA0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3AFDC-348D-4BBC-B20E-07166AC9058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95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5E8203-1FB3-486B-83D7-3614934F1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A5A31-514C-4E11-BB0E-A0DF45B8D0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76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8AA-C9B9-4C7F-BF43-A144614F50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29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47847-CC8A-4D3B-BC3C-75D1E79220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12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 useBgFill="1"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2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36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000" y="1457960"/>
            <a:ext cx="11074400" cy="466344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  <a:lvl5pPr marL="1218926" indent="-22854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E075740C-AC93-44FF-B231-DAC8F765CC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2" y="6121399"/>
            <a:ext cx="8971403" cy="375196"/>
          </a:xfrm>
          <a:noFill/>
        </p:spPr>
        <p:txBody>
          <a:bodyPr wrap="square" lIns="0" tIns="0" bIns="0" rtlCol="0" anchor="b">
            <a:noAutofit/>
          </a:bodyPr>
          <a:lstStyle>
            <a:lvl1pPr marL="0" indent="0">
              <a:spcBef>
                <a:spcPts val="100"/>
              </a:spcBef>
              <a:buFontTx/>
              <a:buNone/>
              <a:defRPr lang="en-US" sz="933" dirty="0">
                <a:solidFill>
                  <a:schemeClr val="bg1"/>
                </a:solidFill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2470381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88248" y="181939"/>
            <a:ext cx="11193569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BE46D8-10AA-4E6D-87AE-0429D1FE31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8246" y="6356354"/>
            <a:ext cx="11193569" cy="26158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8BD85A7-5F22-431C-8DD6-76F91EFC036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8245" y="1295406"/>
            <a:ext cx="11193571" cy="4991099"/>
          </a:xfrm>
        </p:spPr>
        <p:txBody>
          <a:bodyPr/>
          <a:lstStyle>
            <a:lvl1pPr marL="539892" indent="-269946">
              <a:defRPr/>
            </a:lvl1pPr>
            <a:lvl2pPr marL="380924" indent="-380924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816" indent="-380924">
              <a:buNone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784" indent="-269946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784" indent="-269946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69946" lvl="0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Mastertextformat bearbeiten</a:t>
            </a:r>
          </a:p>
          <a:p>
            <a:pPr marL="269946" lvl="1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269946" lvl="2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Dritte Ebene</a:t>
            </a:r>
          </a:p>
          <a:p>
            <a:pPr marL="269946" lvl="3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Vierte Ebene</a:t>
            </a:r>
          </a:p>
          <a:p>
            <a:pPr marL="269946" lvl="4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65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51BB9-B5A7-4A4E-BCC8-1B2D01A08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F139DE-402E-4979-B6F1-51154AC2A2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lick to add foot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557831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4882152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CC20A954-010F-AA49-9AFF-0BA2B966F0F2}"/>
              </a:ext>
            </a:extLst>
          </p:cNvPr>
          <p:cNvGrpSpPr/>
          <p:nvPr userDrawn="1"/>
        </p:nvGrpSpPr>
        <p:grpSpPr>
          <a:xfrm>
            <a:off x="0" y="0"/>
            <a:ext cx="10113069" cy="6858000"/>
            <a:chOff x="20548" y="0"/>
            <a:chExt cx="10113069" cy="6858000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id="{94B7C9F0-E087-8549-B68F-C4C8FCB7540D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948ECA4-FA5A-DC41-BEAC-1A2554ADD123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9075ABD7-AC88-324D-81AC-6B45DDBB44C6}"/>
              </a:ext>
            </a:extLst>
          </p:cNvPr>
          <p:cNvSpPr/>
          <p:nvPr userDrawn="1"/>
        </p:nvSpPr>
        <p:spPr>
          <a:xfrm>
            <a:off x="0" y="1380221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38845"/>
            <a:ext cx="8930053" cy="2852737"/>
          </a:xfrm>
        </p:spPr>
        <p:txBody>
          <a:bodyPr anchor="b">
            <a:normAutofit/>
          </a:bodyPr>
          <a:lstStyle>
            <a:lvl1pPr>
              <a:defRPr sz="3600" b="1" i="0" u="none" cap="none" baseline="0">
                <a:solidFill>
                  <a:schemeClr val="tx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227802"/>
            <a:ext cx="3994639" cy="1500187"/>
          </a:xfrm>
        </p:spPr>
        <p:txBody>
          <a:bodyPr lIns="27432">
            <a:normAutofit/>
          </a:bodyPr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E513E5-06CF-744A-8DB1-7690EAF8A581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176550-E523-9544-97FD-F93FBD1E6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3519668" cy="365125"/>
          </a:xfrm>
        </p:spPr>
        <p:txBody>
          <a:bodyPr/>
          <a:lstStyle>
            <a:lvl1pPr>
              <a:defRPr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C43809-A055-B74A-A1F8-7E7FC690F185}"/>
              </a:ext>
            </a:extLst>
          </p:cNvPr>
          <p:cNvCxnSpPr>
            <a:cxnSpLocks/>
          </p:cNvCxnSpPr>
          <p:nvPr userDrawn="1"/>
        </p:nvCxnSpPr>
        <p:spPr>
          <a:xfrm>
            <a:off x="485193" y="3032449"/>
            <a:ext cx="599982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9B8BD7F-7022-664C-BF5F-505F31CB56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41354" y="3753853"/>
            <a:ext cx="2540300" cy="1724964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34313769-8D7C-6C4D-AF51-33D8D191E790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40C6905-2338-444D-A9F3-8B745C46B3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658469E-98E2-7143-BD5B-A35784490C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42527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5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17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4196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6330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6589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891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285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2179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7595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6427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663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ternat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78B45E58-B0F4-5E47-8F67-D17C2662770E}"/>
              </a:ext>
            </a:extLst>
          </p:cNvPr>
          <p:cNvGrpSpPr/>
          <p:nvPr userDrawn="1"/>
        </p:nvGrpSpPr>
        <p:grpSpPr>
          <a:xfrm>
            <a:off x="0" y="0"/>
            <a:ext cx="10113069" cy="6858000"/>
            <a:chOff x="20548" y="0"/>
            <a:chExt cx="10113069" cy="6858000"/>
          </a:xfrm>
        </p:grpSpPr>
        <p:sp>
          <p:nvSpPr>
            <p:cNvPr id="31" name="Parallelogram 30">
              <a:extLst>
                <a:ext uri="{FF2B5EF4-FFF2-40B4-BE49-F238E27FC236}">
                  <a16:creationId xmlns:a16="http://schemas.microsoft.com/office/drawing/2014/main" id="{6CE1899E-BD87-3449-9C88-BE99D6EA4C97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AE1F52C2-F043-7D45-8779-3B2BD400235B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AABFBFA5-5B77-6440-BD16-D378B6056988}"/>
              </a:ext>
            </a:extLst>
          </p:cNvPr>
          <p:cNvSpPr/>
          <p:nvPr userDrawn="1"/>
        </p:nvSpPr>
        <p:spPr>
          <a:xfrm>
            <a:off x="0" y="3509963"/>
            <a:ext cx="12192000" cy="3348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0" y="1122363"/>
            <a:ext cx="8243182" cy="2387600"/>
          </a:xfrm>
        </p:spPr>
        <p:txBody>
          <a:bodyPr anchor="b"/>
          <a:lstStyle>
            <a:lvl1pPr algn="l">
              <a:defRPr sz="4000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602038"/>
            <a:ext cx="8243182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02A96B-DA9D-C149-9E23-E0AF281C6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0A55A-85AF-6545-BD76-D7C328BDD00F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0914D26-55BA-8148-926C-D74E05FD6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F856791-5DB4-F341-814C-82C3EEFCE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059E918-0022-944B-9297-9E561DB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38351" y="4341806"/>
            <a:ext cx="3190374" cy="216639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2CC578F8-558A-BB4D-806E-DDE2C49964FC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6000D75-49A0-E449-B6E5-1A76FF350E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7EFAEF2-A745-0E4B-9716-D433B3EF8B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39569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2114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354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umper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6EDE9CCF-D32F-AA4F-A6BA-FEAC7DA2297C}"/>
              </a:ext>
            </a:extLst>
          </p:cNvPr>
          <p:cNvGrpSpPr/>
          <p:nvPr userDrawn="1"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29" name="Parallelogram 28">
              <a:extLst>
                <a:ext uri="{FF2B5EF4-FFF2-40B4-BE49-F238E27FC236}">
                  <a16:creationId xmlns:a16="http://schemas.microsoft.com/office/drawing/2014/main" id="{928C4630-B298-204A-AD43-222B4811DA97}"/>
                </a:ext>
              </a:extLst>
            </p:cNvPr>
            <p:cNvSpPr/>
            <p:nvPr userDrawn="1"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EAC653CE-03F0-5A43-9D35-659009E07DE7}"/>
                </a:ext>
              </a:extLst>
            </p:cNvPr>
            <p:cNvSpPr/>
            <p:nvPr userDrawn="1"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C82AC-9FB2-8D42-9E9A-1EC8648F1151}"/>
              </a:ext>
            </a:extLst>
          </p:cNvPr>
          <p:cNvSpPr/>
          <p:nvPr userDrawn="1"/>
        </p:nvSpPr>
        <p:spPr>
          <a:xfrm>
            <a:off x="0" y="1380221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0" y="1122363"/>
            <a:ext cx="5627204" cy="2387600"/>
          </a:xfrm>
        </p:spPr>
        <p:txBody>
          <a:bodyPr anchor="b"/>
          <a:lstStyle>
            <a:lvl1pPr algn="l">
              <a:defRPr sz="40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UMPER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602038"/>
            <a:ext cx="4529924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4BD9C38-583A-254C-A1AE-F2952A4A8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9D4D713-D536-2047-A851-1E7DDB9F45CA}" type="datetime1">
              <a:rPr lang="en-US" smtClean="0"/>
              <a:pPr/>
              <a:t>11/3/2025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C17A973-3111-B646-BA04-00E41F5BE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04567E9-9CA0-FB4E-AD11-DE2319884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BCA78D6-6342-E346-B48F-A89B2AF0C6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41354" y="3753853"/>
            <a:ext cx="2540300" cy="1724964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FB9693E7-8840-2943-AB86-606DD99E04D3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FB7BFE1-406F-0D4D-8C7B-417CF911E8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48C2347-AB8F-9D42-BC02-634607452E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78241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F71A2E-1D04-F441-844E-0C20094432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825625"/>
            <a:ext cx="9483587" cy="4351338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03CBD74-E145-9A4B-AF40-81075C209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150E0-9EAA-5C40-BC48-0E092ADAF3D4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AB81B8-FA8C-E943-9BDE-DCC7952CB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 baseline="0"/>
            </a:lvl1pPr>
          </a:lstStyle>
          <a:p>
            <a:r>
              <a:rPr lang="en-US" dirty="0"/>
              <a:t>FOR INTERNAL USE ONL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CF16414-ED7A-D44A-AFDC-E4C657FC7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2EDBEE-768C-C240-92F5-019B7286C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3256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EA0F3-FE77-4342-9F85-A445BCEDC2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825625"/>
            <a:ext cx="52197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38F12A-92D9-C04F-948A-1A7BDED22B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67400" y="1825625"/>
            <a:ext cx="51816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024075-CE92-864D-BB63-ECA21C4A4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3EBB7-D426-AB49-9ED9-FE9C62AE0A26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217306-C568-A74F-93D5-CB527C7F8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39A6D4-8217-9047-9309-6F3296601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A05A640-E2E9-7044-AC75-31DDB2AEB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656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7B0AE6-C8D1-8C4D-8231-0D159F2258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421180"/>
            <a:ext cx="5120612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E97601-30DB-7247-95EC-E5DC55D3EF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5300" y="2245092"/>
            <a:ext cx="5120612" cy="30290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F5C0D-5A5A-EA47-A641-D68AB69322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790537" y="1421180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CD8D6D-0E2A-B74B-86F4-9F1A927085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790537" y="2245092"/>
            <a:ext cx="5183188" cy="30290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9CE67B-5FB4-CC41-B8EC-B53F04C8B5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13C15-FE86-914F-A8A3-B8749E98BC23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6E641E-FC2D-4447-B609-D59411A36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4B0B08-EBF0-8348-A7B2-017A950C0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0657FED-0BE6-2B46-93FB-E5A3B7DF8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6838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FA904D-ED8C-AC41-84DE-8253AE32D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BDB17-5F77-B640-B829-6B26F62B9635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E223AD-CE3D-734A-98DA-F7BD9700D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C8BEBF-ADEB-9247-AC7D-F5F282502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1EEF3D0-910B-0342-9BCF-2D0FEE484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1172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tif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F3D0C75-2109-0640-A7D2-A88EF70909F8}"/>
              </a:ext>
            </a:extLst>
          </p:cNvPr>
          <p:cNvSpPr/>
          <p:nvPr userDrawn="1"/>
        </p:nvSpPr>
        <p:spPr>
          <a:xfrm>
            <a:off x="9534106" y="-1"/>
            <a:ext cx="2657895" cy="1076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AAD0361F-9B2A-0648-9585-CAC83CDB472F}"/>
              </a:ext>
            </a:extLst>
          </p:cNvPr>
          <p:cNvSpPr/>
          <p:nvPr userDrawn="1"/>
        </p:nvSpPr>
        <p:spPr>
          <a:xfrm>
            <a:off x="9534106" y="-1"/>
            <a:ext cx="602527" cy="1076325"/>
          </a:xfrm>
          <a:custGeom>
            <a:avLst/>
            <a:gdLst>
              <a:gd name="connsiteX0" fmla="*/ 485733 w 602527"/>
              <a:gd name="connsiteY0" fmla="*/ 0 h 1076325"/>
              <a:gd name="connsiteX1" fmla="*/ 602527 w 602527"/>
              <a:gd name="connsiteY1" fmla="*/ 0 h 1076325"/>
              <a:gd name="connsiteX2" fmla="*/ 116794 w 602527"/>
              <a:gd name="connsiteY2" fmla="*/ 1076325 h 1076325"/>
              <a:gd name="connsiteX3" fmla="*/ 0 w 602527"/>
              <a:gd name="connsiteY3" fmla="*/ 1076325 h 1076325"/>
              <a:gd name="connsiteX4" fmla="*/ 485733 w 602527"/>
              <a:gd name="connsiteY4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527" h="1076325">
                <a:moveTo>
                  <a:pt x="485733" y="0"/>
                </a:moveTo>
                <a:lnTo>
                  <a:pt x="602527" y="0"/>
                </a:lnTo>
                <a:lnTo>
                  <a:pt x="116794" y="1076325"/>
                </a:lnTo>
                <a:lnTo>
                  <a:pt x="0" y="1076325"/>
                </a:lnTo>
                <a:lnTo>
                  <a:pt x="48573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017D0922-3950-7D4A-8176-545FB88FCDC9}"/>
              </a:ext>
            </a:extLst>
          </p:cNvPr>
          <p:cNvSpPr/>
          <p:nvPr userDrawn="1"/>
        </p:nvSpPr>
        <p:spPr>
          <a:xfrm>
            <a:off x="0" y="-1"/>
            <a:ext cx="10019838" cy="1076325"/>
          </a:xfrm>
          <a:custGeom>
            <a:avLst/>
            <a:gdLst>
              <a:gd name="connsiteX0" fmla="*/ 0 w 10019838"/>
              <a:gd name="connsiteY0" fmla="*/ 0 h 1076325"/>
              <a:gd name="connsiteX1" fmla="*/ 10019838 w 10019838"/>
              <a:gd name="connsiteY1" fmla="*/ 0 h 1076325"/>
              <a:gd name="connsiteX2" fmla="*/ 9534105 w 10019838"/>
              <a:gd name="connsiteY2" fmla="*/ 1076325 h 1076325"/>
              <a:gd name="connsiteX3" fmla="*/ 0 w 10019838"/>
              <a:gd name="connsiteY3" fmla="*/ 1076325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19838" h="1076325">
                <a:moveTo>
                  <a:pt x="0" y="0"/>
                </a:moveTo>
                <a:lnTo>
                  <a:pt x="10019838" y="0"/>
                </a:lnTo>
                <a:lnTo>
                  <a:pt x="9534105" y="1076325"/>
                </a:lnTo>
                <a:lnTo>
                  <a:pt x="0" y="1076325"/>
                </a:lnTo>
                <a:close/>
              </a:path>
            </a:pathLst>
          </a:custGeom>
          <a:solidFill>
            <a:srgbClr val="1F42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7EB126-FE29-544B-8613-510E0ADD43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95299" y="125128"/>
            <a:ext cx="10448193" cy="89087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EB39E-7124-9A44-BECF-D8CFC886AED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25462" y="1825625"/>
            <a:ext cx="10441475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61A5F-C324-9343-9A72-03C124D5E53E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A00CC8-20D9-CA47-B460-D14CA09E1CFC}" type="datetime1">
              <a:rPr lang="en-US" smtClean="0"/>
              <a:pPr/>
              <a:t>11/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2365B9-9D87-E647-B9DE-7603201AFBC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BDA642-3C68-9B4B-93B9-4339A70042C7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966" y="6397451"/>
            <a:ext cx="394643" cy="324024"/>
          </a:xfrm>
          <a:prstGeom prst="rect">
            <a:avLst/>
          </a:prstGeom>
          <a:solidFill>
            <a:srgbClr val="1F4288">
              <a:alpha val="50196"/>
            </a:srgbClr>
          </a:solidFill>
        </p:spPr>
        <p:txBody>
          <a:bodyPr vert="horz" lIns="91440" tIns="45720" rIns="91440" bIns="45720" rtlCol="0" anchor="ctr"/>
          <a:lstStyle>
            <a:lvl1pPr algn="ctr">
              <a:defRPr sz="1100" b="1" i="0" baseline="0">
                <a:solidFill>
                  <a:schemeClr val="bg1"/>
                </a:solidFill>
              </a:defRPr>
            </a:lvl1pPr>
          </a:lstStyle>
          <a:p>
            <a:fld id="{C0AFECD8-B8AF-5C4E-B306-A0438013ED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6C429F6-DE49-844D-BC47-458C856E861D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6CCE957-14A5-C84A-B741-F50F0F16A8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8D6C843-8510-444D-8351-263FB074E9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4780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i="0" kern="1200" cap="all" baseline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Helvetica" pitchFamily="2" charset="0"/>
        <a:buChar char="―"/>
        <a:defRPr sz="18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6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1147">
          <p15:clr>
            <a:srgbClr val="F26B43"/>
          </p15:clr>
        </p15:guide>
        <p15:guide id="4" orient="horz" pos="400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408">
          <p15:clr>
            <a:srgbClr val="F26B43"/>
          </p15:clr>
        </p15:guide>
        <p15:guide id="7" pos="6178">
          <p15:clr>
            <a:srgbClr val="F26B43"/>
          </p15:clr>
        </p15:guide>
        <p15:guide id="8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1C49B4-753C-B641-9EB2-13A016D6A1DF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2300" y="1295401"/>
            <a:ext cx="11193569" cy="4991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4840" y="181941"/>
            <a:ext cx="9654396" cy="7820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lvl="0"/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069237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DBAA3-EF1F-4E1D-A7A0-1323AF4D9F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594" y="6476517"/>
            <a:ext cx="9556643" cy="3206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7280B11-E027-45CE-8135-75AA9DC34D0D}"/>
              </a:ext>
            </a:extLst>
          </p:cNvPr>
          <p:cNvSpPr/>
          <p:nvPr userDrawn="1"/>
        </p:nvSpPr>
        <p:spPr>
          <a:xfrm>
            <a:off x="1" y="5573486"/>
            <a:ext cx="6369699" cy="1284514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2" descr="Logo&#10;&#10;Description automatically generated">
            <a:extLst>
              <a:ext uri="{FF2B5EF4-FFF2-40B4-BE49-F238E27FC236}">
                <a16:creationId xmlns:a16="http://schemas.microsoft.com/office/drawing/2014/main" id="{EBB63EF4-1659-D8ED-B7C9-3BFC53263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r="34159"/>
          <a:stretch/>
        </p:blipFill>
        <p:spPr>
          <a:xfrm>
            <a:off x="8720745" y="113080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923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09" rtl="0" eaLnBrk="1" latinLnBrk="0" hangingPunct="1">
        <a:spcBef>
          <a:spcPct val="0"/>
        </a:spcBef>
        <a:buNone/>
        <a:defRPr lang="en-US" sz="2400" b="1" kern="1200" cap="none" baseline="0" dirty="0">
          <a:solidFill>
            <a:schemeClr val="bg1"/>
          </a:solidFill>
          <a:latin typeface="+mn-lt"/>
          <a:ea typeface="+mn-ea"/>
          <a:cs typeface="Futura" panose="020B0602020204020303" pitchFamily="34" charset="-79"/>
        </a:defRPr>
      </a:lvl1pPr>
    </p:titleStyle>
    <p:bodyStyle>
      <a:lvl1pPr marL="0" indent="0" algn="l" defTabSz="914309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73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46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19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6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312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3960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pos="5120">
          <p15:clr>
            <a:srgbClr val="F26B43"/>
          </p15:clr>
        </p15:guide>
        <p15:guide id="18" pos="399">
          <p15:clr>
            <a:srgbClr val="F26B43"/>
          </p15:clr>
        </p15:guide>
        <p15:guide id="19" pos="12955">
          <p15:clr>
            <a:srgbClr val="F26B43"/>
          </p15:clr>
        </p15:guide>
        <p15:guide id="20" pos="13036">
          <p15:clr>
            <a:srgbClr val="F26B43"/>
          </p15:clr>
        </p15:guide>
        <p15:guide id="21" pos="9844">
          <p15:clr>
            <a:srgbClr val="F26B43"/>
          </p15:clr>
        </p15:guide>
        <p15:guide id="22" orient="horz" pos="807">
          <p15:clr>
            <a:srgbClr val="F26B43"/>
          </p15:clr>
        </p15:guide>
        <p15:guide id="23" orient="horz" pos="2160">
          <p15:clr>
            <a:srgbClr val="F26B43"/>
          </p15:clr>
        </p15:guide>
        <p15:guide id="24" orient="horz" pos="41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E4D992-CF52-4611-B45D-0EC950D0D631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9E73CC-E55D-494F-9A9F-5CD3573F4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31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hyperlink" Target="https://pubmed.ncbi.nlm.nih.gov/39426080/" TargetMode="Externa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wissmedicinfo.ch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Relationship Id="rId5" Type="http://schemas.openxmlformats.org/officeDocument/2006/relationships/hyperlink" Target="http://www.bayer.com/" TargetMode="Externa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95E12-1E45-68CA-6787-CFD111543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71E19-310D-9C3B-8978-5FCC20C6A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497" y="196276"/>
            <a:ext cx="10799866" cy="782031"/>
          </a:xfrm>
        </p:spPr>
        <p:txBody>
          <a:bodyPr>
            <a:normAutofit/>
          </a:bodyPr>
          <a:lstStyle/>
          <a:p>
            <a:r>
              <a:rPr lang="de-CH" sz="2400" cap="none" dirty="0"/>
              <a:t>Arzneimittelwechselwirkungen der ARPIs mit klinisch relevanten Komedikationen*</a:t>
            </a:r>
            <a:endParaRPr lang="de-CH" sz="2400" cap="none" baseline="30000" dirty="0"/>
          </a:p>
        </p:txBody>
      </p:sp>
      <p:graphicFrame>
        <p:nvGraphicFramePr>
          <p:cNvPr id="5" name="Table 9">
            <a:extLst>
              <a:ext uri="{FF2B5EF4-FFF2-40B4-BE49-F238E27FC236}">
                <a16:creationId xmlns:a16="http://schemas.microsoft.com/office/drawing/2014/main" id="{5EBCFE21-5807-7602-479A-A6B62CD0BF8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5831841"/>
              </p:ext>
            </p:extLst>
          </p:nvPr>
        </p:nvGraphicFramePr>
        <p:xfrm>
          <a:off x="187412" y="1233147"/>
          <a:ext cx="5503652" cy="5480303"/>
        </p:xfrm>
        <a:graphic>
          <a:graphicData uri="http://schemas.openxmlformats.org/drawingml/2006/table">
            <a:tbl>
              <a:tblPr firstRow="1" bandRow="1"/>
              <a:tblGrid>
                <a:gridCol w="1598987">
                  <a:extLst>
                    <a:ext uri="{9D8B030D-6E8A-4147-A177-3AD203B41FA5}">
                      <a16:colId xmlns:a16="http://schemas.microsoft.com/office/drawing/2014/main" val="851948152"/>
                    </a:ext>
                  </a:extLst>
                </a:gridCol>
                <a:gridCol w="1521332">
                  <a:extLst>
                    <a:ext uri="{9D8B030D-6E8A-4147-A177-3AD203B41FA5}">
                      <a16:colId xmlns:a16="http://schemas.microsoft.com/office/drawing/2014/main" val="701096665"/>
                    </a:ext>
                  </a:extLst>
                </a:gridCol>
                <a:gridCol w="599751">
                  <a:extLst>
                    <a:ext uri="{9D8B030D-6E8A-4147-A177-3AD203B41FA5}">
                      <a16:colId xmlns:a16="http://schemas.microsoft.com/office/drawing/2014/main" val="939599150"/>
                    </a:ext>
                  </a:extLst>
                </a:gridCol>
                <a:gridCol w="593136">
                  <a:extLst>
                    <a:ext uri="{9D8B030D-6E8A-4147-A177-3AD203B41FA5}">
                      <a16:colId xmlns:a16="http://schemas.microsoft.com/office/drawing/2014/main" val="3884805216"/>
                    </a:ext>
                  </a:extLst>
                </a:gridCol>
                <a:gridCol w="612476">
                  <a:extLst>
                    <a:ext uri="{9D8B030D-6E8A-4147-A177-3AD203B41FA5}">
                      <a16:colId xmlns:a16="http://schemas.microsoft.com/office/drawing/2014/main" val="1779836527"/>
                    </a:ext>
                  </a:extLst>
                </a:gridCol>
                <a:gridCol w="577970">
                  <a:extLst>
                    <a:ext uri="{9D8B030D-6E8A-4147-A177-3AD203B41FA5}">
                      <a16:colId xmlns:a16="http://schemas.microsoft.com/office/drawing/2014/main" val="891477470"/>
                    </a:ext>
                  </a:extLst>
                </a:gridCol>
              </a:tblGrid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WIRKSTOFFKLASSE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WIRKSTOFF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WECHSELWIRKUNG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413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RO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</a:t>
                      </a:r>
                      <a:r>
                        <a:rPr lang="en-GB" sz="6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1,6]</a:t>
                      </a:r>
                      <a:endParaRPr lang="en-GB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BI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2,6]</a:t>
                      </a:r>
                      <a:endParaRPr lang="en-GB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3,6]</a:t>
                      </a:r>
                      <a:endParaRPr lang="en-GB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NZ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4,6]</a:t>
                      </a:r>
                      <a:endParaRPr lang="en-GB" sz="6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579545"/>
                  </a:ext>
                </a:extLst>
              </a:tr>
              <a:tr h="2884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T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ugolix</a:t>
                      </a:r>
                      <a:r>
                        <a:rPr lang="en-GB" sz="10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  <a:endParaRPr lang="en-GB" sz="10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615900"/>
                  </a:ext>
                </a:extLst>
              </a:tr>
              <a:tr h="288437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Antikoagulantien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ixab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558112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bigatr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8377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Edoxab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14304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varoxab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178053"/>
                  </a:ext>
                </a:extLst>
              </a:tr>
              <a:tr h="28843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Tz-Aggregationshemmer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lopidogre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12638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rasugre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97143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icagrelor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5347"/>
                  </a:ext>
                </a:extLst>
              </a:tr>
              <a:tr h="28843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Betablocker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soprolol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50511"/>
                  </a:ext>
                </a:extLst>
              </a:tr>
              <a:tr h="288437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endParaRPr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arvedilo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15960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etoprolo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6596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Nebivolo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70684"/>
                  </a:ext>
                </a:extLst>
              </a:tr>
              <a:tr h="288437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Antiinfektiva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iprofloxac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71285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larithromyc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573388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fampic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990135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Fluconazo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520324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Voriconazo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392571"/>
                  </a:ext>
                </a:extLst>
              </a:tr>
            </a:tbl>
          </a:graphicData>
        </a:graphic>
      </p:graphicFrame>
      <p:graphicFrame>
        <p:nvGraphicFramePr>
          <p:cNvPr id="6" name="Table 9">
            <a:extLst>
              <a:ext uri="{FF2B5EF4-FFF2-40B4-BE49-F238E27FC236}">
                <a16:creationId xmlns:a16="http://schemas.microsoft.com/office/drawing/2014/main" id="{2EB61554-BACF-B96C-D45F-544913F1363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389626"/>
              </p:ext>
            </p:extLst>
          </p:nvPr>
        </p:nvGraphicFramePr>
        <p:xfrm>
          <a:off x="5996329" y="1233147"/>
          <a:ext cx="5934003" cy="4038118"/>
        </p:xfrm>
        <a:graphic>
          <a:graphicData uri="http://schemas.openxmlformats.org/drawingml/2006/table">
            <a:tbl>
              <a:tblPr firstRow="1" bandRow="1"/>
              <a:tblGrid>
                <a:gridCol w="1792066">
                  <a:extLst>
                    <a:ext uri="{9D8B030D-6E8A-4147-A177-3AD203B41FA5}">
                      <a16:colId xmlns:a16="http://schemas.microsoft.com/office/drawing/2014/main" val="851948152"/>
                    </a:ext>
                  </a:extLst>
                </a:gridCol>
                <a:gridCol w="1527167">
                  <a:extLst>
                    <a:ext uri="{9D8B030D-6E8A-4147-A177-3AD203B41FA5}">
                      <a16:colId xmlns:a16="http://schemas.microsoft.com/office/drawing/2014/main" val="701096665"/>
                    </a:ext>
                  </a:extLst>
                </a:gridCol>
                <a:gridCol w="678741">
                  <a:extLst>
                    <a:ext uri="{9D8B030D-6E8A-4147-A177-3AD203B41FA5}">
                      <a16:colId xmlns:a16="http://schemas.microsoft.com/office/drawing/2014/main" val="939599150"/>
                    </a:ext>
                  </a:extLst>
                </a:gridCol>
                <a:gridCol w="612751">
                  <a:extLst>
                    <a:ext uri="{9D8B030D-6E8A-4147-A177-3AD203B41FA5}">
                      <a16:colId xmlns:a16="http://schemas.microsoft.com/office/drawing/2014/main" val="3884805216"/>
                    </a:ext>
                  </a:extLst>
                </a:gridCol>
                <a:gridCol w="612751">
                  <a:extLst>
                    <a:ext uri="{9D8B030D-6E8A-4147-A177-3AD203B41FA5}">
                      <a16:colId xmlns:a16="http://schemas.microsoft.com/office/drawing/2014/main" val="1779836527"/>
                    </a:ext>
                  </a:extLst>
                </a:gridCol>
                <a:gridCol w="710527">
                  <a:extLst>
                    <a:ext uri="{9D8B030D-6E8A-4147-A177-3AD203B41FA5}">
                      <a16:colId xmlns:a16="http://schemas.microsoft.com/office/drawing/2014/main" val="891477470"/>
                    </a:ext>
                  </a:extLst>
                </a:gridCol>
              </a:tblGrid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WIRKSTOFFKLASSE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WIRKSTOFF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WECHSELWIRKUNG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413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RO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</a:t>
                      </a:r>
                      <a:r>
                        <a:rPr lang="en-GB" sz="6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1,6]</a:t>
                      </a:r>
                      <a:endParaRPr lang="en-GB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BI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2,6]</a:t>
                      </a:r>
                      <a:endParaRPr lang="en-GB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3,6]</a:t>
                      </a:r>
                      <a:endParaRPr lang="en-GB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NZ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4,6]</a:t>
                      </a:r>
                      <a:endParaRPr lang="en-GB" sz="6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579545"/>
                  </a:ext>
                </a:extLst>
              </a:tr>
              <a:tr h="288437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pidsenker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mfibrozil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558112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torvastatin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8377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mvastatin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14304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suvastatin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17805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zetimib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12638"/>
                  </a:ext>
                </a:extLst>
              </a:tr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ntiepileptika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rbamazep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97143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lproa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5347"/>
                  </a:ext>
                </a:extLst>
              </a:tr>
              <a:tr h="28843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tidepressiva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citalopram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15960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uloxet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6596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nlafax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70684"/>
                  </a:ext>
                </a:extLst>
              </a:tr>
              <a:tr h="288437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rotonenpumpen-Inhibitoren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ntoprazo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949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meprazol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787784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32EAA4E-2DBB-B6FF-51FF-99D8E87E425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939246" y="5562638"/>
            <a:ext cx="5105117" cy="6141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de-CH" sz="800" dirty="0">
                <a:solidFill>
                  <a:srgbClr val="00B050"/>
                </a:solidFill>
                <a:latin typeface="Arial"/>
                <a:cs typeface="Arial"/>
              </a:rPr>
              <a:t>Grün – keine Restriktionen für gleichzeitige Verabreichung</a:t>
            </a:r>
          </a:p>
          <a:p>
            <a:pPr algn="just"/>
            <a:r>
              <a:rPr lang="de-CH" sz="800" dirty="0">
                <a:solidFill>
                  <a:srgbClr val="FFC000"/>
                </a:solidFill>
                <a:latin typeface="Arial"/>
                <a:cs typeface="Arial"/>
              </a:rPr>
              <a:t>Gelb – mit Vorsicht, ggf. Dosisanpassung notwendig</a:t>
            </a:r>
          </a:p>
          <a:p>
            <a:pPr algn="just"/>
            <a:r>
              <a:rPr lang="de-CH" sz="800" dirty="0">
                <a:solidFill>
                  <a:srgbClr val="FF0000"/>
                </a:solidFill>
                <a:latin typeface="Arial"/>
                <a:cs typeface="Arial"/>
              </a:rPr>
              <a:t>Rot – Kontraindikation / vermeiden / Therapieanpassung in Erwägung ziehen </a:t>
            </a:r>
          </a:p>
          <a:p>
            <a:pPr algn="just"/>
            <a:endParaRPr lang="de-CH" sz="800" dirty="0">
              <a:solidFill>
                <a:srgbClr val="FF0000"/>
              </a:solidFill>
              <a:latin typeface="Arial"/>
              <a:cs typeface="Arial"/>
            </a:endParaRPr>
          </a:p>
          <a:p>
            <a:pPr algn="just"/>
            <a:r>
              <a:rPr lang="de-CH" sz="800" dirty="0">
                <a:solidFill>
                  <a:srgbClr val="000000"/>
                </a:solidFill>
                <a:latin typeface="Arial"/>
                <a:cs typeface="Arial"/>
              </a:rPr>
              <a:t>ADT: Androgen-Deprivationstherapie; ARPIs: Androgen </a:t>
            </a:r>
            <a:r>
              <a:rPr lang="de-CH" sz="800" dirty="0" err="1">
                <a:solidFill>
                  <a:srgbClr val="000000"/>
                </a:solidFill>
                <a:latin typeface="Arial"/>
                <a:cs typeface="Arial"/>
              </a:rPr>
              <a:t>Receptor</a:t>
            </a:r>
            <a:r>
              <a:rPr lang="de-CH" sz="8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rgbClr val="000000"/>
                </a:solidFill>
                <a:latin typeface="Arial"/>
                <a:cs typeface="Arial"/>
              </a:rPr>
              <a:t>Pathway</a:t>
            </a:r>
            <a:r>
              <a:rPr lang="de-CH" sz="800" dirty="0">
                <a:solidFill>
                  <a:srgbClr val="000000"/>
                </a:solidFill>
                <a:latin typeface="Arial"/>
                <a:cs typeface="Arial"/>
              </a:rPr>
              <a:t> Inhibitors</a:t>
            </a:r>
          </a:p>
          <a:p>
            <a:pPr algn="just"/>
            <a:r>
              <a:rPr lang="de-CH" sz="800" dirty="0" err="1">
                <a:solidFill>
                  <a:srgbClr val="000000"/>
                </a:solidFill>
                <a:latin typeface="Arial"/>
                <a:cs typeface="Arial"/>
              </a:rPr>
              <a:t>Daro</a:t>
            </a:r>
            <a:r>
              <a:rPr lang="de-CH" sz="800" dirty="0">
                <a:solidFill>
                  <a:srgbClr val="000000"/>
                </a:solidFill>
                <a:latin typeface="Arial"/>
                <a:cs typeface="Arial"/>
              </a:rPr>
              <a:t>: Darolutamid; Abi: Abirateron; </a:t>
            </a:r>
            <a:r>
              <a:rPr lang="de-CH" sz="800" dirty="0" err="1">
                <a:solidFill>
                  <a:srgbClr val="000000"/>
                </a:solidFill>
                <a:latin typeface="Arial"/>
                <a:cs typeface="Arial"/>
              </a:rPr>
              <a:t>Apa</a:t>
            </a:r>
            <a:r>
              <a:rPr lang="de-CH" sz="800" dirty="0">
                <a:solidFill>
                  <a:srgbClr val="000000"/>
                </a:solidFill>
                <a:latin typeface="Arial"/>
                <a:cs typeface="Arial"/>
              </a:rPr>
              <a:t>: Apalutamid; Enza: Enzalutamid; Tz: Thrombozyten</a:t>
            </a:r>
          </a:p>
          <a:p>
            <a:pPr algn="just"/>
            <a:r>
              <a:rPr lang="de-CH" sz="800" dirty="0">
                <a:solidFill>
                  <a:srgbClr val="000000"/>
                </a:solidFill>
                <a:latin typeface="Arial"/>
                <a:cs typeface="Arial"/>
              </a:rPr>
              <a:t>*Die folgenden Tabellen enthalten Medikamente, die bei Patienten, die sich einer Behandlung gegen Prostatakrebs unterziehen, am häufigsten vorkommen; diese Auflistung ist nicht abschliessend. Für weitere Informationen konsultieren Sie bitte die jeweiligen Arzneimittel-Fachinformationen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C14AA3-1187-B516-A497-9608D1E36F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27475" y="6176814"/>
            <a:ext cx="877113" cy="521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95E12-1E45-68CA-6787-CFD111543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71E19-310D-9C3B-8978-5FCC20C6A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497" y="196276"/>
            <a:ext cx="10799866" cy="782031"/>
          </a:xfrm>
        </p:spPr>
        <p:txBody>
          <a:bodyPr>
            <a:normAutofit/>
          </a:bodyPr>
          <a:lstStyle/>
          <a:p>
            <a:r>
              <a:rPr lang="de-DE" sz="2400" cap="none"/>
              <a:t>Arzneimittelwechselwirkungen der ARPIs mit klinisch relevanten Komedikationen</a:t>
            </a:r>
            <a:r>
              <a:rPr lang="de-CH" sz="2400" cap="none"/>
              <a:t>*</a:t>
            </a:r>
            <a:endParaRPr lang="de-DE" sz="2400" cap="none" baseline="30000"/>
          </a:p>
        </p:txBody>
      </p:sp>
      <p:graphicFrame>
        <p:nvGraphicFramePr>
          <p:cNvPr id="5" name="Table 9">
            <a:extLst>
              <a:ext uri="{FF2B5EF4-FFF2-40B4-BE49-F238E27FC236}">
                <a16:creationId xmlns:a16="http://schemas.microsoft.com/office/drawing/2014/main" id="{5EBCFE21-5807-7602-479A-A6B62CD0BF8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298710"/>
              </p:ext>
            </p:extLst>
          </p:nvPr>
        </p:nvGraphicFramePr>
        <p:xfrm>
          <a:off x="464543" y="1315947"/>
          <a:ext cx="5631456" cy="4326555"/>
        </p:xfrm>
        <a:graphic>
          <a:graphicData uri="http://schemas.openxmlformats.org/drawingml/2006/table">
            <a:tbl>
              <a:tblPr firstRow="1" bandRow="1"/>
              <a:tblGrid>
                <a:gridCol w="1636117">
                  <a:extLst>
                    <a:ext uri="{9D8B030D-6E8A-4147-A177-3AD203B41FA5}">
                      <a16:colId xmlns:a16="http://schemas.microsoft.com/office/drawing/2014/main" val="851948152"/>
                    </a:ext>
                  </a:extLst>
                </a:gridCol>
                <a:gridCol w="1556660">
                  <a:extLst>
                    <a:ext uri="{9D8B030D-6E8A-4147-A177-3AD203B41FA5}">
                      <a16:colId xmlns:a16="http://schemas.microsoft.com/office/drawing/2014/main" val="701096665"/>
                    </a:ext>
                  </a:extLst>
                </a:gridCol>
                <a:gridCol w="613678">
                  <a:extLst>
                    <a:ext uri="{9D8B030D-6E8A-4147-A177-3AD203B41FA5}">
                      <a16:colId xmlns:a16="http://schemas.microsoft.com/office/drawing/2014/main" val="939599150"/>
                    </a:ext>
                  </a:extLst>
                </a:gridCol>
                <a:gridCol w="631928">
                  <a:extLst>
                    <a:ext uri="{9D8B030D-6E8A-4147-A177-3AD203B41FA5}">
                      <a16:colId xmlns:a16="http://schemas.microsoft.com/office/drawing/2014/main" val="3884805216"/>
                    </a:ext>
                  </a:extLst>
                </a:gridCol>
                <a:gridCol w="592183">
                  <a:extLst>
                    <a:ext uri="{9D8B030D-6E8A-4147-A177-3AD203B41FA5}">
                      <a16:colId xmlns:a16="http://schemas.microsoft.com/office/drawing/2014/main" val="1779836527"/>
                    </a:ext>
                  </a:extLst>
                </a:gridCol>
                <a:gridCol w="600890">
                  <a:extLst>
                    <a:ext uri="{9D8B030D-6E8A-4147-A177-3AD203B41FA5}">
                      <a16:colId xmlns:a16="http://schemas.microsoft.com/office/drawing/2014/main" val="891477470"/>
                    </a:ext>
                  </a:extLst>
                </a:gridCol>
              </a:tblGrid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WIRKSTOFFKLASSE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WIRKSTOFF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WECHSELWIRKUNG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413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RO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</a:t>
                      </a:r>
                      <a:r>
                        <a:rPr lang="en-GB" sz="6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1,6]</a:t>
                      </a:r>
                      <a:endParaRPr lang="en-GB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BI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2,6]</a:t>
                      </a:r>
                      <a:endParaRPr lang="en-GB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3,6]</a:t>
                      </a:r>
                      <a:endParaRPr lang="en-GB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NZ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4,6]</a:t>
                      </a:r>
                      <a:endParaRPr lang="en-GB" sz="6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579545"/>
                  </a:ext>
                </a:extLst>
              </a:tr>
              <a:tr h="28843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ypnotika 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azepa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558112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dazola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8377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opiclon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14304"/>
                  </a:ext>
                </a:extLst>
              </a:tr>
              <a:tr h="288437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algetika 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clofenac 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897905"/>
                  </a:ext>
                </a:extLst>
              </a:tr>
              <a:tr h="288437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endParaRPr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entanyl 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12638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phiu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97143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ycodon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256825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madol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5347"/>
                  </a:ext>
                </a:extLst>
              </a:tr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titussiva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de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5051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xtromethorphan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15960"/>
                  </a:ext>
                </a:extLst>
              </a:tr>
              <a:tr h="2884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lutdrucksenker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mlodipin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79432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ydrochlorothiazi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283876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lsart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232150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32EAA4E-2DBB-B6FF-51FF-99D8E87E425B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6546438" y="4092532"/>
            <a:ext cx="5375267" cy="1868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de-DE" sz="800" dirty="0">
                <a:solidFill>
                  <a:srgbClr val="00B050"/>
                </a:solidFill>
                <a:latin typeface="Arial"/>
                <a:cs typeface="Arial"/>
              </a:rPr>
              <a:t>Grün – keine Restriktionen für gleichzeitige Verabreichung</a:t>
            </a:r>
          </a:p>
          <a:p>
            <a:pPr algn="just"/>
            <a:r>
              <a:rPr lang="de-DE" sz="800" dirty="0">
                <a:solidFill>
                  <a:srgbClr val="FFC000"/>
                </a:solidFill>
                <a:latin typeface="Arial"/>
                <a:cs typeface="Arial"/>
              </a:rPr>
              <a:t>Gelb – mit Vorsicht, ggf. Dosisanpassung notwendig</a:t>
            </a:r>
          </a:p>
          <a:p>
            <a:pPr algn="just"/>
            <a:r>
              <a:rPr lang="de-DE" sz="800" dirty="0">
                <a:solidFill>
                  <a:srgbClr val="FF0000"/>
                </a:solidFill>
                <a:latin typeface="Arial"/>
                <a:cs typeface="Arial"/>
              </a:rPr>
              <a:t>Rot – Kontraindikation / vermeiden / Therapieanpassung in Erwägung ziehen </a:t>
            </a:r>
          </a:p>
          <a:p>
            <a:pPr algn="just"/>
            <a:endParaRPr lang="de-DE" sz="800" dirty="0">
              <a:solidFill>
                <a:srgbClr val="000000"/>
              </a:solidFill>
              <a:latin typeface="Arial"/>
              <a:cs typeface="Arial"/>
            </a:endParaRPr>
          </a:p>
          <a:p>
            <a:pPr algn="just"/>
            <a:r>
              <a:rPr lang="en-US" sz="800" dirty="0">
                <a:solidFill>
                  <a:srgbClr val="000000"/>
                </a:solidFill>
                <a:latin typeface="Arial"/>
                <a:cs typeface="Arial"/>
              </a:rPr>
              <a:t>ADT: Androgen-</a:t>
            </a:r>
            <a:r>
              <a:rPr lang="en-US" sz="800" dirty="0" err="1">
                <a:solidFill>
                  <a:srgbClr val="000000"/>
                </a:solidFill>
                <a:latin typeface="Arial"/>
                <a:cs typeface="Arial"/>
              </a:rPr>
              <a:t>Deprivationstherapie</a:t>
            </a:r>
            <a:r>
              <a:rPr lang="en-US" sz="800" dirty="0">
                <a:solidFill>
                  <a:srgbClr val="000000"/>
                </a:solidFill>
                <a:latin typeface="Arial"/>
                <a:cs typeface="Arial"/>
              </a:rPr>
              <a:t>; ARPIs: Androgen Receptor Pathway Inhibitors</a:t>
            </a:r>
          </a:p>
          <a:p>
            <a:pPr algn="just"/>
            <a:r>
              <a:rPr lang="de-DE" sz="800" dirty="0" err="1">
                <a:solidFill>
                  <a:srgbClr val="000000"/>
                </a:solidFill>
                <a:latin typeface="Arial"/>
                <a:cs typeface="Arial"/>
              </a:rPr>
              <a:t>Daro</a:t>
            </a:r>
            <a:r>
              <a:rPr lang="de-DE" sz="800" dirty="0">
                <a:solidFill>
                  <a:srgbClr val="000000"/>
                </a:solidFill>
                <a:latin typeface="Arial"/>
                <a:cs typeface="Arial"/>
              </a:rPr>
              <a:t>: Darolutamid; Abi: Abirateron; </a:t>
            </a:r>
            <a:r>
              <a:rPr lang="de-DE" sz="800" dirty="0" err="1">
                <a:solidFill>
                  <a:srgbClr val="000000"/>
                </a:solidFill>
                <a:latin typeface="Arial"/>
                <a:cs typeface="Arial"/>
              </a:rPr>
              <a:t>Apa</a:t>
            </a:r>
            <a:r>
              <a:rPr lang="de-DE" sz="800" dirty="0">
                <a:solidFill>
                  <a:srgbClr val="000000"/>
                </a:solidFill>
                <a:latin typeface="Arial"/>
                <a:cs typeface="Arial"/>
              </a:rPr>
              <a:t>: Apalutamid; Enza: Enzalutamid; Tz: Thrombozyten</a:t>
            </a:r>
          </a:p>
          <a:p>
            <a:pPr algn="just"/>
            <a:endParaRPr lang="de-DE" sz="800" dirty="0">
              <a:solidFill>
                <a:srgbClr val="000000"/>
              </a:solidFill>
              <a:latin typeface="Arial"/>
              <a:cs typeface="Arial"/>
            </a:endParaRPr>
          </a:p>
          <a:p>
            <a:pPr algn="just"/>
            <a:r>
              <a:rPr lang="de-DE" sz="800" dirty="0">
                <a:solidFill>
                  <a:srgbClr val="000000"/>
                </a:solidFill>
                <a:latin typeface="Arial"/>
                <a:cs typeface="Arial"/>
              </a:rPr>
              <a:t>* Die folgenden Tabellen enthalten Medikamente, die bei Patienten, die sich einer Behandlung gegen Prostatakrebs unterziehen, am häufigsten vorkommen; diese Auflistung ist nicht </a:t>
            </a:r>
            <a:r>
              <a:rPr lang="de-DE" sz="800" dirty="0" err="1">
                <a:solidFill>
                  <a:srgbClr val="000000"/>
                </a:solidFill>
                <a:latin typeface="Arial"/>
                <a:cs typeface="Arial"/>
              </a:rPr>
              <a:t>abschliessend</a:t>
            </a:r>
            <a:r>
              <a:rPr lang="de-DE" sz="800" dirty="0">
                <a:solidFill>
                  <a:srgbClr val="000000"/>
                </a:solidFill>
                <a:latin typeface="Arial"/>
                <a:cs typeface="Arial"/>
              </a:rPr>
              <a:t>.</a:t>
            </a:r>
          </a:p>
          <a:p>
            <a:pPr algn="just"/>
            <a:r>
              <a:rPr lang="de-DE" sz="800" dirty="0">
                <a:solidFill>
                  <a:srgbClr val="000000"/>
                </a:solidFill>
                <a:latin typeface="Arial"/>
                <a:cs typeface="Arial"/>
              </a:rPr>
              <a:t>Für weitere Informationen konsultieren Sie bitte die jeweiligen Arzneimittel-Fachinformationen.</a:t>
            </a:r>
          </a:p>
          <a:p>
            <a:pPr algn="just"/>
            <a:r>
              <a:rPr lang="de-DE" sz="800" dirty="0">
                <a:solidFill>
                  <a:srgbClr val="000000"/>
                </a:solidFill>
                <a:latin typeface="Arial"/>
                <a:cs typeface="Arial"/>
              </a:rPr>
              <a:t>§ Wir machen Sie darauf aufmerksam, dass der folgende Link zu einer externen Seite führt. Die Bayer (Schweiz) AG hat keinen </a:t>
            </a:r>
            <a:r>
              <a:rPr lang="de-DE" sz="800" dirty="0" err="1">
                <a:solidFill>
                  <a:srgbClr val="000000"/>
                </a:solidFill>
                <a:latin typeface="Arial"/>
                <a:cs typeface="Arial"/>
              </a:rPr>
              <a:t>Einﬂuss</a:t>
            </a:r>
            <a:r>
              <a:rPr lang="de-DE" sz="800" dirty="0">
                <a:solidFill>
                  <a:srgbClr val="000000"/>
                </a:solidFill>
                <a:latin typeface="Arial"/>
                <a:cs typeface="Arial"/>
              </a:rPr>
              <a:t> auf die Gestaltung und die Inhalte der verlinkten Seite und lehnt daher ausdrücklich jegliche Verantwortung für die Inhalte fremder Seiten und die sich daraus ergebenden Konsequenzen ab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C14AA3-1187-B516-A497-9608D1E36F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7475" y="6176814"/>
            <a:ext cx="877113" cy="521827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BCED3B4-A706-2180-7EB7-67CAC8FB88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211609"/>
              </p:ext>
            </p:extLst>
          </p:nvPr>
        </p:nvGraphicFramePr>
        <p:xfrm>
          <a:off x="6546439" y="1290320"/>
          <a:ext cx="3046136" cy="21386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46136">
                  <a:extLst>
                    <a:ext uri="{9D8B030D-6E8A-4147-A177-3AD203B41FA5}">
                      <a16:colId xmlns:a16="http://schemas.microsoft.com/office/drawing/2014/main" val="11718886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100" cap="all" baseline="0"/>
                        <a:t>Download Publikation</a:t>
                      </a:r>
                      <a:r>
                        <a:rPr lang="de-CH" sz="1100" baseline="30000"/>
                        <a:t>§</a:t>
                      </a:r>
                      <a:endParaRPr lang="de-DE" sz="1100" baseline="30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7210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ndrogen receptor 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athway inhibitors and 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rug-drug interactions 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 prostate cancer von 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SMO Open Review</a:t>
                      </a:r>
                      <a:r>
                        <a:rPr lang="de-DE" sz="1100" b="1" baseline="30000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§,6 </a:t>
                      </a:r>
                      <a:endParaRPr lang="de-DE" sz="1100" b="1" baseline="30000">
                        <a:solidFill>
                          <a:schemeClr val="tx1"/>
                        </a:solidFill>
                      </a:endParaRPr>
                    </a:p>
                    <a:p>
                      <a:pPr algn="just"/>
                      <a:r>
                        <a:rPr lang="de-DE" sz="1100"/>
                        <a:t>bietet weiterführende </a:t>
                      </a:r>
                    </a:p>
                    <a:p>
                      <a:pPr algn="just"/>
                      <a:r>
                        <a:rPr lang="de-DE" sz="1100"/>
                        <a:t>Informationen, die neben der Fachinformation </a:t>
                      </a:r>
                    </a:p>
                    <a:p>
                      <a:pPr algn="just"/>
                      <a:r>
                        <a:rPr lang="de-DE" sz="1100"/>
                        <a:t>und weiterer Fachliteratur dabei hilft, </a:t>
                      </a:r>
                    </a:p>
                    <a:p>
                      <a:pPr algn="just"/>
                      <a:r>
                        <a:rPr lang="de-DE" sz="1100"/>
                        <a:t>potenzielle Wechselwirkungen zwischen </a:t>
                      </a:r>
                    </a:p>
                    <a:p>
                      <a:pPr algn="just"/>
                      <a:r>
                        <a:rPr lang="de-DE" sz="1100"/>
                        <a:t>Medikamenten schnell zu identiﬁziere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633679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8B575E6-DA11-771E-ADC9-4754C2876BD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89086" y="1759787"/>
            <a:ext cx="845390" cy="845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93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6" y="-19846"/>
            <a:ext cx="12207240" cy="107899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8D79B55B-EF59-2C9D-7B6D-84E89FDE2AAB}"/>
              </a:ext>
            </a:extLst>
          </p:cNvPr>
          <p:cNvSpPr txBox="1"/>
          <p:nvPr/>
        </p:nvSpPr>
        <p:spPr>
          <a:xfrm>
            <a:off x="456370" y="1206893"/>
            <a:ext cx="11279260" cy="4399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1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CH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urzfachinformation NUBEQA</a:t>
            </a:r>
            <a:r>
              <a:rPr lang="de-CH" sz="900" b="1" baseline="300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®</a:t>
            </a: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de-CH" sz="900" dirty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.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rolutamidum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.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UBEQA ist indiziert in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b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mit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rogendeprivationstherap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(ADT) für die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hand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wachs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Pat. mit metastasiertem, hormon-sensitivem Prostatakarzinom (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HSPC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 NUBEQA ist indiziert in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b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mit Docetaxel und ADT, für die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hand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von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wachs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Pat. mit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HSPC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für die eine Docetaxel-Therapie angezeigt ist. NUBEQA ist indiziert in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b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mit einer ADT, für die Behandlung von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wachs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Pat. mit nicht-metastasiertem, kastrationsresistentem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statakarz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(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mCRPC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, mit hohem Risiko für eine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twick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von Metastasen (insbesondere PSA‑DT ≤ 10 Mt.). </a:t>
            </a: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.: 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00mg (2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lmtab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) 2x täglich mit einer Mahlzeit (Gesamtdosis 1200mg/Tag). Pat. unter NUBEQA sollten auch gleichzeitig einen LHRH- Agonist oder Antagonist erhalten oder sich einer bilateralen Orchiektomie unterzogen haben. Bei Verw. in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b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mit Docetaxel, sollte der erste von 6 Docetaxel-Zyklen innerhalb von 6 Wochen nach Start von NUBEQA beginnen. </a:t>
            </a: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I.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berempf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geg. dem Wirkstoff oder einem der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lfsst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Frauen die schwanger sind oder schw. werden können. </a:t>
            </a: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M.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ieren-, Leberfunktionsstörungen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t. mit schwerer Nierenfunktionsstör. oder mässiger/schwerer Leberfunktionsstör. engmaschig auf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benw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überwachen. </a:t>
            </a:r>
            <a:r>
              <a:rPr lang="de-CH" sz="900" i="1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patotoxizität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ei Anomalien der Leberwerte, die auf eine idiosynkratische arzneimittelinduzierte Leberschädigung hindeuten, ist NUBEQA dauerhaft abzusetzen. ADT kann das QT-Intervall verlängern: Bei Risikofakt. oder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gleitmed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, die das QT-Intervall verlängern, sollte eine EKG-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berw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in Betracht gezogen werden. 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trazeption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Hochwirksame Verhütung bei sexuell aktiven Pat.. Knochendichte: wird möglicherweise beeinflusst durch Langzeit-Testosteronsuppression während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hand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mit NUBEQA. 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ürzlich aufgetretene </a:t>
            </a:r>
            <a:r>
              <a:rPr lang="de-CH" sz="900" i="1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rdiovask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Erkrankung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icherheit von NUBEQA bei Pat. mit klinisch relevanter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rdiovask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Erkrankung in den letzten 6 Monaten nicht erwiesen, geltende Leitlinien beachten. Einzunehmende Dosis ist nahezu «natriumfrei». Keine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w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bei hereditärer Galactose-Intoleranz, völligem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ctasemange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der Glucose-Galactose-Malabsorption. </a:t>
            </a: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A.: 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hibitor von BCRP, OATP 1B1 und 1B3, bei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leichz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w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mit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tsprech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Substraten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pfeh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in der resp.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chinf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befolgen. Schwacher CYP3A4-Induktor. Substrat von CYP3A4, P-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p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d BCRP.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w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starker CYP3A4-Induktoren und P-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p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Induktoren während der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hand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mit NUBEQA sollte vermieden werden.</a:t>
            </a: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W.: 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BEQA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hr häufig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utrophilenzah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rniedrigt, AST und ALT erhöht, Bilirubin erhöht, Fatigue. 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äufig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schämische Herzerkrankung,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rzinsuff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, </a:t>
            </a:r>
            <a:r>
              <a:rPr lang="de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utaussch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, Schmerzen in den Extremitäten, Frakturen. 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BEQA in Kombination mit Docetaxel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de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hr häufig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Hypertonie inklusive gelegentlich hypertensivem Notfall, AST erhöht, ALT erhöht, Bilirubin erhöht, Hautausschlag. </a:t>
            </a:r>
            <a:r>
              <a:rPr lang="de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ste: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.  Bayer (Schweiz) AG, 8045 Zürich. 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sführliche Info.: </a:t>
            </a:r>
            <a:r>
              <a:rPr lang="de-DE" sz="900" u="sng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wissmedicinfo.ch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P-M_DAR-CH-0108-3    07/2025</a:t>
            </a:r>
            <a:endParaRPr lang="de-CH" sz="900" dirty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en-US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en-US" sz="900" b="1" dirty="0" err="1">
                <a:solidFill>
                  <a:srgbClr val="77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zen</a:t>
            </a:r>
            <a:r>
              <a:rPr lang="en-US" altLang="en-US" sz="900" b="1" dirty="0">
                <a:solidFill>
                  <a:srgbClr val="77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228600" marR="0" lvl="0" indent="-2286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hinformation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chweiz Nubeqa (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rolutamid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hinformation Schweiz Zytiga (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birateron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hinformation Schweiz Erleada (Apalutamid): www.swissmedicinfo.ch</a:t>
            </a:r>
          </a:p>
          <a:p>
            <a:pPr marL="228600" marR="0" lvl="0" indent="-2286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hinformation Schweiz Xtandi (Enzalutamid): www.swissmedicinfo.ch</a:t>
            </a:r>
          </a:p>
          <a:p>
            <a:pPr marL="228600" marR="0" lvl="0" indent="-2286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hinformation Schweiz 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govyx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ugolix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olek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H, et al. Androgen 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eptor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thway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hibitors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ug-drug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actions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state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ncer</a:t>
            </a:r>
            <a:r>
              <a:rPr kumimoji="0" lang="de-DE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ESMO Open 2024;9(11):103736.</a:t>
            </a:r>
          </a:p>
          <a:p>
            <a:pPr marR="0" lvl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altLang="en-US" sz="900" b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de-DE" altLang="en-US" sz="900" b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e referenzierten Daten, resp. Publikationen werden auf Anfrage zur Verfügung gestellt.</a:t>
            </a:r>
            <a:endParaRPr kumimoji="0" lang="en-US" altLang="en-US" sz="900" b="0" i="1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F6DF91-1014-714A-F980-ECD698A5F4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81899" y="6074417"/>
            <a:ext cx="986295" cy="586783"/>
          </a:xfrm>
          <a:prstGeom prst="rect">
            <a:avLst/>
          </a:prstGeom>
        </p:spPr>
      </p:pic>
      <p:sp>
        <p:nvSpPr>
          <p:cNvPr id="4" name="TextBox 1">
            <a:extLst>
              <a:ext uri="{FF2B5EF4-FFF2-40B4-BE49-F238E27FC236}">
                <a16:creationId xmlns:a16="http://schemas.microsoft.com/office/drawing/2014/main" id="{611B5B65-475C-2E72-1509-2AA122FD38C0}"/>
              </a:ext>
            </a:extLst>
          </p:cNvPr>
          <p:cNvSpPr txBox="1"/>
          <p:nvPr/>
        </p:nvSpPr>
        <p:spPr>
          <a:xfrm>
            <a:off x="456370" y="6322646"/>
            <a:ext cx="3921289" cy="338554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yer (Schweiz) AG 8045 Zürich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5"/>
              </a:rPr>
              <a:t>www.bayer.com</a:t>
            </a:r>
            <a:b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P-NUB-CH-0281-4_10.2025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22591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LASTWRITEDATE" val="638829073419578288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CkQSU0I6dFt9GwKfeY/8EEAAAAAAADAAAAAAADAAAAAwADAAAAAAADAAAABAADAAEA////////BQAAAAMAEAALGJkixGwU3kaRjQKRzIMboAQAAAABAAMAAAACAAMAAAAEAAQAAwD///////8FAAAABAAQAAucnqLW3nU/TbltM9SYpBYHBAAAAAIAAwAAAAMAAwAAAAE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IKRBJTQjp0W30bAp95j/wQNEYXRhAFMAAAAIUHJlc2VudGF0aW9uU2Nhbm5lZEZvckxpbmtlZFNoYXBlcwABAk51bWJlckZvcm1hdFNlcGFyYXRvck1vZGUACgAAAEF1dG9tYXRpYwAAAk5hbWUAJAAAAExpbmtlZFNoYXBlUHJlc2VudGF0aW9uU2V0dGluZ3NEYXRhABBWZXJzaW9uAAAAAAAJTGFzdFdyaXRlAHJnNEqaAQAAAAEA/////4MAgwAAAAVfaWQAEAAAAAQYmSLEbBTeRpGNApHMgxugA0RhdGEAGwAAAARMaW5rZWRTaGFwZURhdGEABQAAAAAAAk5hbWUAGQAAAExpbmtlZFNoYXBlc0RhdGFQcm9wZXJ0eQAQVmVyc2lvbgABAAAACUxhc3RXcml0ZQDE+9LTlgEAAAACAP////+DAIMAAAAFX2lkABAAAAAEnJ6i1t51P025bTPUmKQWBwNEYXRhABsAAAAETGlua2VkU2hhcGVEYXRhAAUAAAAAAAJOYW1lABkAAABMaW5rZWRTaGFwZXNEYXRhUHJvcGVydHkAEFZlcnNpb24AAAAAAAlMYXN0V3JpdGUArfvS05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JCwAAAAAAAAAAAAAgAf///////////////wAAAP////////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JQAGTGlua2VkU2hhcGVQcmVzZW50YXRpb25TZXR0aW5nc0RhdGFfMAQAAAAAAAUAAAAAAAUAAAAEAAUAAAAAAAUAAAAEAAMAAQEDAAAAAwD///////8aAAZMaW5rZWRTaGFwZXNEYXRhUHJvcGVydHlfMQQAAAABAAUAAAAEAAUAAAABAAQAAwEDAAAABAD///////8aAAZMaW5rZWRTaGFwZXNEYXRhUHJvcGVydHlfMAQAAAACAAUAAAACAAUAAAADAAUAAAAC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41b1f2a-3214-4856-afdf-c27fcd77961b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30MpCfD92dLms0Y0jgiN4cEAAAAAAADAAAAAAADAAAAAwADAAAAAAADAAAAAwADAAAAAAD///////8DAAIA////////BQAAAAMAEAALHUXijopggEGU/k+hPM/zfwQAAAABAAMAAAACAAMAAAAEAAMAAAACAP///////wQAAQD///////8FAAAABAAQAAu6HuzEhgxtRpv/NhK3Djwa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fQykJ8P3Z0uazRjSOCI3hwREYXRhAAUAAAAAAk5hbWUADQAAAExpbmtEYXRhTGlzdAAQVmVyc2lvbgABAAAACUxhc3RXcml0ZQDRoNTTlgEAAAABAP////9hAGEAAAAFX2lkABAAAAAEHUXijopggEGU/k+hPM/zfwREYXRhAAUAAAAAAk5hbWUADQAAAExpbmtEYXRhTGlzdAAQVmVyc2lvbgAAAAAACUxhc3RXcml0ZQDIoNTTlgEAAAACAP////9wAHAAAAAFX2lkABAAAAAEuh7sxIYMbUab/zYStw48GgNEYXRhABYAAAACUGVyc29uYWxJZAABAAAAAAACTmFtZQALAAAAUGVyc29uYWxJZAAQVmVyc2lvbgAAAAAACUxhc3RXcml0ZQC0OAGv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wD///////8FAAAAAAD///////8DAAIBAwAAAAMA////////DgAGTGlua0RhdGFMaXN0XzAEAAAAAQ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29074497171864"/>
  <p:tag name="EMPOWERCHARTSPROPERTIES_B_LENGTH" val="24576"/>
  <p:tag name="DOWN_MIGRATION_INITIAL_LAYOUT_REQUIRED" val="9.2.9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93acfb1-ea06-4047-b328-6c65dceee0c4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j6GWQfZmJCkUTQxnsf/WYEAAAAAAADAAAAAAADAAAAAwADAAAAAAADAAAAAwADAAIA////////BQAAAAMAEAAL4ratpxnwEkqiyZ26DhVGxwQAAAABAAMAAAACAAMAAAAEAAMAAAACAP///////wQAAQD///////8FAAAABAAQAAv8e0+8HdjvTI+ppj9TJDVW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PoZZB9mYkKRRNDGex/9ZgREYXRhAAUAAAAAAk5hbWUADQAAAExpbmtEYXRhTGlzdAAQVmVyc2lvbgAAAAAACUxhc3RXcml0ZQA5pdTTlgEAAAABAP////9wAHAAAAAFX2lkABAAAAAE4ratpxnwEkqiyZ26DhVGxwNEYXRhABYAAAACUGVyc29uYWxJZAABAAAAAAACTmFtZQALAAAAUGVyc29uYWxJZAAQVmVyc2lvbgAAAAAACUxhc3RXcml0ZQDzOAGvjgEAAAACAP////9hAGEAAAAFX2lkABAAAAAE/HtPvB3Y70yPqaY/UyQ1VgREYXRhAAUAAAAAAk5hbWUADQAAAExpbmtEYXRhTGlzdAAQVmVyc2lvbgABAAAACUxhc3RXcml0ZQA7pdTT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BAAFAAAAAAAFAAAAAwADAAIBAwAAAAMA////////DAAGUGVyc29uYWxJZF8wBAAAAAEABQAAAAQABQAAAAEABQAAAAI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29074508948352"/>
  <p:tag name="EMPOWERCHARTSPROPERTIES_B_LENGTH" val="24576"/>
  <p:tag name="DOWN_MIGRATION_INITIAL_LAYOUT_REQUIRED" val="9.2.9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41a8dce-322b-41e8-982e-72bde7af1ea9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PjtZxMYpFJuS9PupAdMJkEAAAAAAADAAAAAAADAAAAAwADAAMA////////BQAAAAMAEAALyL28s9IpQk2HpGbmt0MvyAQAAAABAAMAAAACAAMAAAAEAAMAAAAAAAMAAAAEAAMAAAAAAP///////wQAAgD///////8FAAAABAAQAAsqtFD7nS9oQbKKmW6uO3Ab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Q+O1nExikUm5L0+6kB0wmQNEYXRhABYAAAACUGVyc29uYWxJZAABAAAAAAACTmFtZQALAAAAUGVyc29uYWxJZAAQVmVyc2lvbgAAAAAACUxhc3RXcml0ZQA4OQGvjgEAAAABAP////9hAGEAAAAFX2lkABAAAAAEyL28s9IpQk2HpGbmt0MvyAREYXRhAAUAAAAAAk5hbWUADQAAAExpbmtEYXRhTGlzdAAQVmVyc2lvbgABAAAACUxhc3RXcml0ZQA1q9TTlgEAAAACAP////9hAGEAAAAFX2lkABAAAAAEKrRQ+50vaEGyiplurjtwGwREYXRhAAUAAAAAAk5hbWUADQAAAExpbmtEYXRhTGlzdAAQVmVyc2lvbgAAAAAACUxhc3RXcml0ZQAzq9TT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EAP///////wUAAAAE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MABQAAAAEAAwADAQMAAAADAP///////w4ABkxpbmtEYXRhTGlzdF8xBAAAAAEABQAAAAQABQAAAAIABQAAAAQA////////BQAAAAAA////////BAACAQMAAAAEAP///////w4ABkxpbmtEYXRhTGlzdF8wBAAAAAIABQAAAAAABQAAAAM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29074523883886"/>
  <p:tag name="EMPOWERCHARTSPROPERTIES_B_LENGTH" val="24576"/>
  <p:tag name="DOWN_MIGRATION_INITIAL_LAYOUT_REQUIRED" val="9.2.9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oe7MSGDG1Gm/82ErcOP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oe7MSGDG1Gm/82ErcOPBoDRGF0YQAWAAAAAlBlcnNvbmFsSWQAAQAAAAAAAk5hbWUACwAAAFBlcnNvbmFsSWQAEFZlcnNpb24AAAAAAAlMYXN0V3JpdGUAtD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6711540"/>
  <p:tag name="EMPOWERCHARTSPROPERTIES_A_LENGTH" val="24576"/>
  <p:tag name="RUNTIME_ID" val="041b1f2a-3214-4856-afdf-c27fcd77961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PjtZxMYpFJuS9PupAdMJ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PjtZxMYpFJuS9PupAdMJkDRGF0YQAWAAAAAlBlcnNvbmFsSWQAAQAAAAAAAk5hbWUACwAAAFBlcnNvbmFsSWQAEFZlcnNpb24AAAAAAAlMYXN0V3JpdGUAODk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8222570"/>
  <p:tag name="EMPOWERCHARTSPROPERTIES_A_LENGTH" val="24576"/>
  <p:tag name="RUNTIME_ID" val="f41a8dce-322b-41e8-982e-72bde7af1ea9"/>
</p:tagLst>
</file>

<file path=ppt/theme/theme1.xml><?xml version="1.0" encoding="utf-8"?>
<a:theme xmlns:a="http://schemas.openxmlformats.org/drawingml/2006/main" name="2_Office Theme">
  <a:themeElements>
    <a:clrScheme name="Custom 11">
      <a:dk1>
        <a:srgbClr val="223C78"/>
      </a:dk1>
      <a:lt1>
        <a:srgbClr val="FFFFFF"/>
      </a:lt1>
      <a:dk2>
        <a:srgbClr val="939598"/>
      </a:dk2>
      <a:lt2>
        <a:srgbClr val="F3FAFF"/>
      </a:lt2>
      <a:accent1>
        <a:srgbClr val="F16623"/>
      </a:accent1>
      <a:accent2>
        <a:srgbClr val="009EDB"/>
      </a:accent2>
      <a:accent3>
        <a:srgbClr val="B8D6A2"/>
      </a:accent3>
      <a:accent4>
        <a:srgbClr val="223C78"/>
      </a:accent4>
      <a:accent5>
        <a:srgbClr val="404140"/>
      </a:accent5>
      <a:accent6>
        <a:srgbClr val="77787B"/>
      </a:accent6>
      <a:hlink>
        <a:srgbClr val="F16623"/>
      </a:hlink>
      <a:folHlink>
        <a:srgbClr val="77787B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aro Medical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Custom 1">
      <a:majorFont>
        <a:latin typeface="Arial Black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aro Medical" id="{612EBEA5-4CE3-4B31-AD54-AB62E17DE0B5}" vid="{94C32C4C-3669-4D00-B7BC-5BC719A8DD18}"/>
    </a:ext>
  </a:extLst>
</a:theme>
</file>

<file path=ppt/theme/theme3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7bc43322-b630-4bac-8b27-31def233d1d0" ContentTypeId="0x0101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D9AC528DE4949B3343CF8BF8821ED" ma:contentTypeVersion="21" ma:contentTypeDescription="Create a new document." ma:contentTypeScope="" ma:versionID="d2ffc49d7a4e349961baf82def277493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52c41914-47fd-4263-9e1b-d8877e82f575" xmlns:ns4="4a27762e-ff82-4243-8a52-87712e03ee5d" targetNamespace="http://schemas.microsoft.com/office/2006/metadata/properties" ma:root="true" ma:fieldsID="2f50b562a89878c738a9e0ae9ac20fa2" ns1:_="" ns2:_="" ns3:_="" ns4:_="">
    <xsd:import namespace="http://schemas.microsoft.com/sharepoint/v3"/>
    <xsd:import namespace="1a4d292e-883c-434b-96e3-060cfff16c86"/>
    <xsd:import namespace="52c41914-47fd-4263-9e1b-d8877e82f575"/>
    <xsd:import namespace="4a27762e-ff82-4243-8a52-87712e03ee5d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Location" minOccurs="0"/>
                <xsd:element ref="ns3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2540e3d9-f28b-4f86-8a38-24a54adb6f34}" ma:internalName="TaxCatchAll" ma:showField="CatchAllData" ma:web="4a27762e-ff82-4243-8a52-87712e03ee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2540e3d9-f28b-4f86-8a38-24a54adb6f34}" ma:internalName="TaxCatchAllLabel" ma:readOnly="true" ma:showField="CatchAllDataLabel" ma:web="4a27762e-ff82-4243-8a52-87712e03ee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c41914-47fd-4263-9e1b-d8877e82f5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6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27762e-ff82-4243-8a52-87712e03ee5d" elementFormDefault="qualified">
    <xsd:import namespace="http://schemas.microsoft.com/office/2006/documentManagement/types"/>
    <xsd:import namespace="http://schemas.microsoft.com/office/infopath/2007/PartnerControls"/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_dlc_ExpireDateSaved xmlns="http://schemas.microsoft.com/sharepoint/v3" xsi:nil="true"/>
    <lcf76f155ced4ddcb4097134ff3c332f xmlns="52c41914-47fd-4263-9e1b-d8877e82f575">
      <Terms xmlns="http://schemas.microsoft.com/office/infopath/2007/PartnerControls"/>
    </lcf76f155ced4ddcb4097134ff3c332f>
    <_dlc_ExpireDate xmlns="http://schemas.microsoft.com/sharepoint/v3" xsi:nil="true"/>
    <_dlc_Exempt xmlns="http://schemas.microsoft.com/sharepoint/v3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9C90743-9E0D-4AA8-AEA4-B1E8EFF4A143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6B9B68EA-A5FA-4830-9EDE-28553BE37A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52c41914-47fd-4263-9e1b-d8877e82f575"/>
    <ds:schemaRef ds:uri="4a27762e-ff82-4243-8a52-87712e03ee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A399330-1F5F-4DA0-B791-1CBC21EF3C8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CCCA45F-E571-48C2-B6C0-2E00AC6DE695}">
  <ds:schemaRefs>
    <ds:schemaRef ds:uri="http://schemas.microsoft.com/sharepoint/v3"/>
    <ds:schemaRef ds:uri="http://purl.org/dc/terms/"/>
    <ds:schemaRef ds:uri="http://schemas.microsoft.com/office/infopath/2007/PartnerControls"/>
    <ds:schemaRef ds:uri="http://schemas.microsoft.com/office/2006/documentManagement/types"/>
    <ds:schemaRef ds:uri="1a4d292e-883c-434b-96e3-060cfff16c86"/>
    <ds:schemaRef ds:uri="52c41914-47fd-4263-9e1b-d8877e82f575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4a27762e-ff82-4243-8a52-87712e03ee5d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39</Words>
  <Application>Microsoft Office PowerPoint</Application>
  <PresentationFormat>Widescreen</PresentationFormat>
  <Paragraphs>267</Paragraphs>
  <Slides>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ptos</vt:lpstr>
      <vt:lpstr>Arial</vt:lpstr>
      <vt:lpstr>Calibri</vt:lpstr>
      <vt:lpstr>Calibri Light</vt:lpstr>
      <vt:lpstr>Courier New</vt:lpstr>
      <vt:lpstr>Helvetica</vt:lpstr>
      <vt:lpstr>2_Office Theme</vt:lpstr>
      <vt:lpstr>Daro Medical</vt:lpstr>
      <vt:lpstr>3_Office Theme</vt:lpstr>
      <vt:lpstr>Arzneimittelwechselwirkungen der ARPIs mit klinisch relevanten Komedikationen*</vt:lpstr>
      <vt:lpstr>Arzneimittelwechselwirkungen der ARPIs mit klinisch relevanten Komedikationen*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anna Lien</dc:creator>
  <cp:lastModifiedBy>Katalin Goetz</cp:lastModifiedBy>
  <cp:revision>1</cp:revision>
  <dcterms:created xsi:type="dcterms:W3CDTF">2024-04-23T08:28:19Z</dcterms:created>
  <dcterms:modified xsi:type="dcterms:W3CDTF">2025-11-03T14:5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8</vt:lpwstr>
  </property>
  <property fmtid="{D5CDD505-2E9C-101B-9397-08002B2CF9AE}" pid="3" name="ClassificationContentMarkingFooterText">
    <vt:lpwstr>RESTRICTED</vt:lpwstr>
  </property>
  <property fmtid="{D5CDD505-2E9C-101B-9397-08002B2CF9AE}" pid="4" name="ContentTypeId">
    <vt:lpwstr>0x0101002EBD9AC528DE4949B3343CF8BF8821ED</vt:lpwstr>
  </property>
  <property fmtid="{D5CDD505-2E9C-101B-9397-08002B2CF9AE}" pid="5" name="MediaServiceImageTags">
    <vt:lpwstr/>
  </property>
  <property fmtid="{D5CDD505-2E9C-101B-9397-08002B2CF9AE}" pid="6" name="MSIP_Label_7f850223-87a8-40c3-9eb2-432606efca2a_Enabled">
    <vt:lpwstr>true</vt:lpwstr>
  </property>
  <property fmtid="{D5CDD505-2E9C-101B-9397-08002B2CF9AE}" pid="7" name="MSIP_Label_7f850223-87a8-40c3-9eb2-432606efca2a_SetDate">
    <vt:lpwstr>2024-05-02T14:45:52Z</vt:lpwstr>
  </property>
  <property fmtid="{D5CDD505-2E9C-101B-9397-08002B2CF9AE}" pid="8" name="MSIP_Label_7f850223-87a8-40c3-9eb2-432606efca2a_Method">
    <vt:lpwstr>Privileged</vt:lpwstr>
  </property>
  <property fmtid="{D5CDD505-2E9C-101B-9397-08002B2CF9AE}" pid="9" name="MSIP_Label_7f850223-87a8-40c3-9eb2-432606efca2a_Name">
    <vt:lpwstr>7f850223-87a8-40c3-9eb2-432606efca2a</vt:lpwstr>
  </property>
  <property fmtid="{D5CDD505-2E9C-101B-9397-08002B2CF9AE}" pid="10" name="MSIP_Label_7f850223-87a8-40c3-9eb2-432606efca2a_SiteId">
    <vt:lpwstr>fcb2b37b-5da0-466b-9b83-0014b67a7c78</vt:lpwstr>
  </property>
  <property fmtid="{D5CDD505-2E9C-101B-9397-08002B2CF9AE}" pid="11" name="MSIP_Label_7f850223-87a8-40c3-9eb2-432606efca2a_ActionId">
    <vt:lpwstr>f8596c71-3fb9-4bf2-abca-a52d8a0d20a0</vt:lpwstr>
  </property>
  <property fmtid="{D5CDD505-2E9C-101B-9397-08002B2CF9AE}" pid="12" name="MSIP_Label_7f850223-87a8-40c3-9eb2-432606efca2a_ContentBits">
    <vt:lpwstr>0</vt:lpwstr>
  </property>
</Properties>
</file>